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329" r:id="rId5"/>
    <p:sldId id="9153" r:id="rId6"/>
    <p:sldId id="9177" r:id="rId7"/>
    <p:sldId id="9178" r:id="rId8"/>
    <p:sldId id="9181" r:id="rId9"/>
    <p:sldId id="9157" r:id="rId10"/>
    <p:sldId id="9174" r:id="rId11"/>
    <p:sldId id="9161" r:id="rId12"/>
    <p:sldId id="9163" r:id="rId13"/>
    <p:sldId id="9168" r:id="rId14"/>
    <p:sldId id="9176" r:id="rId15"/>
    <p:sldId id="9169" r:id="rId16"/>
    <p:sldId id="9179" r:id="rId17"/>
    <p:sldId id="9180" r:id="rId18"/>
    <p:sldId id="331" r:id="rId19"/>
  </p:sldIdLst>
  <p:sldSz cx="9144000" cy="5143500" type="screen16x9"/>
  <p:notesSz cx="6797675" cy="992663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an, Jianfeng (uidm7513)" initials="YJ(" lastIdx="1" clrIdx="0">
    <p:extLst>
      <p:ext uri="{19B8F6BF-5375-455C-9EA6-DF929625EA0E}">
        <p15:presenceInfo xmlns:p15="http://schemas.microsoft.com/office/powerpoint/2012/main" userId="S::uidm7513@contiwan.com::839b7058-a334-4a47-b48c-10c67e5751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9DA8F"/>
    <a:srgbClr val="CC66FF"/>
    <a:srgbClr val="00CCFF"/>
    <a:srgbClr val="66FF33"/>
    <a:srgbClr val="747474"/>
    <a:srgbClr val="A6A6A6"/>
    <a:srgbClr val="5F5F5F"/>
    <a:srgbClr val="B2B2B2"/>
    <a:srgbClr val="EAEAEA"/>
    <a:srgbClr val="FF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A19883-617B-418D-A177-FFC75331CE08}" v="227" dt="2021-07-27T00:37:17.071"/>
    <p1510:client id="{14C079B1-3763-444B-B216-374EF69EE7DF}" v="91608" dt="2021-07-27T04:51:25.753"/>
    <p1510:client id="{2C6CAA31-EDA8-4B7B-B565-BE5CB00A2082}" v="8" dt="2021-07-26T08:49:31.456"/>
    <p1510:client id="{359A7996-9F9C-4EA6-86FE-E2F031A71052}" v="3258" dt="2021-07-26T22:23:02.722"/>
    <p1510:client id="{3A762128-4F36-4C08-ABBD-46E373AF342E}" v="229" dt="2021-07-26T11:25:23.127"/>
    <p1510:client id="{67ACF39E-05FD-489B-AF22-E6E09572EAA1}" v="12084" dt="2021-07-26T12:34:51.905"/>
    <p1510:client id="{A4372928-57E0-4D78-9638-4E23BED3D002}" v="1689" dt="2021-07-26T11:58:53.741"/>
    <p1510:client id="{A4659CE5-D3B4-4A3E-B40F-A0A577F3DF4C}" v="1012" dt="2021-07-26T09:29:40.499"/>
    <p1510:client id="{A7063D1A-909C-4118-9E15-429192270C5C}" v="122" dt="2021-07-26T09:23:59.567"/>
    <p1510:client id="{CE36C543-3DCA-4DE2-80D8-D230E399B2AE}" v="241" dt="2021-07-27T00:54:46.6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>
        <p:scale>
          <a:sx n="125" d="100"/>
          <a:sy n="125" d="100"/>
        </p:scale>
        <p:origin x="226" y="-163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6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n, Jianfeng (uidm7513)" userId="839b7058-a334-4a47-b48c-10c67e575121" providerId="ADAL" clId="{A4372928-57E0-4D78-9638-4E23BED3D002}"/>
    <pc:docChg chg="undo custSel addSld delSld modSld">
      <pc:chgData name="Yan, Jianfeng (uidm7513)" userId="839b7058-a334-4a47-b48c-10c67e575121" providerId="ADAL" clId="{A4372928-57E0-4D78-9638-4E23BED3D002}" dt="2021-07-26T11:58:53.741" v="1682" actId="2165"/>
      <pc:docMkLst>
        <pc:docMk/>
      </pc:docMkLst>
      <pc:sldChg chg="addSp delSp modSp mod addCm delCm">
        <pc:chgData name="Yan, Jianfeng (uidm7513)" userId="839b7058-a334-4a47-b48c-10c67e575121" providerId="ADAL" clId="{A4372928-57E0-4D78-9638-4E23BED3D002}" dt="2021-07-26T11:33:50.858" v="631" actId="14100"/>
        <pc:sldMkLst>
          <pc:docMk/>
          <pc:sldMk cId="3224819037" sldId="9156"/>
        </pc:sldMkLst>
        <pc:spChg chg="add mod">
          <ac:chgData name="Yan, Jianfeng (uidm7513)" userId="839b7058-a334-4a47-b48c-10c67e575121" providerId="ADAL" clId="{A4372928-57E0-4D78-9638-4E23BED3D002}" dt="2021-07-26T09:24:13.010" v="230" actId="20577"/>
          <ac:spMkLst>
            <pc:docMk/>
            <pc:sldMk cId="3224819037" sldId="9156"/>
            <ac:spMk id="3" creationId="{0FA699B6-1DD3-4930-8A26-B31974E7E76F}"/>
          </ac:spMkLst>
        </pc:spChg>
        <pc:spChg chg="add mod">
          <ac:chgData name="Yan, Jianfeng (uidm7513)" userId="839b7058-a334-4a47-b48c-10c67e575121" providerId="ADAL" clId="{A4372928-57E0-4D78-9638-4E23BED3D002}" dt="2021-07-26T08:51:44.593" v="18" actId="1076"/>
          <ac:spMkLst>
            <pc:docMk/>
            <pc:sldMk cId="3224819037" sldId="9156"/>
            <ac:spMk id="5" creationId="{8986D101-B977-4A4F-8063-767936F0A971}"/>
          </ac:spMkLst>
        </pc:spChg>
        <pc:spChg chg="add mod">
          <ac:chgData name="Yan, Jianfeng (uidm7513)" userId="839b7058-a334-4a47-b48c-10c67e575121" providerId="ADAL" clId="{A4372928-57E0-4D78-9638-4E23BED3D002}" dt="2021-07-26T08:58:14.877" v="63" actId="6549"/>
          <ac:spMkLst>
            <pc:docMk/>
            <pc:sldMk cId="3224819037" sldId="9156"/>
            <ac:spMk id="7" creationId="{20F40F15-D0CD-4BBA-9EDA-38A569A9A6AA}"/>
          </ac:spMkLst>
        </pc:spChg>
        <pc:spChg chg="add mod">
          <ac:chgData name="Yan, Jianfeng (uidm7513)" userId="839b7058-a334-4a47-b48c-10c67e575121" providerId="ADAL" clId="{A4372928-57E0-4D78-9638-4E23BED3D002}" dt="2021-07-26T08:53:07.685" v="28"/>
          <ac:spMkLst>
            <pc:docMk/>
            <pc:sldMk cId="3224819037" sldId="9156"/>
            <ac:spMk id="8" creationId="{EE9F0B73-D9F5-4A9D-B152-738A5BD6DF86}"/>
          </ac:spMkLst>
        </pc:spChg>
        <pc:spChg chg="add del mod">
          <ac:chgData name="Yan, Jianfeng (uidm7513)" userId="839b7058-a334-4a47-b48c-10c67e575121" providerId="ADAL" clId="{A4372928-57E0-4D78-9638-4E23BED3D002}" dt="2021-07-26T08:59:56.790" v="154" actId="478"/>
          <ac:spMkLst>
            <pc:docMk/>
            <pc:sldMk cId="3224819037" sldId="9156"/>
            <ac:spMk id="9" creationId="{22BBB51F-891C-4EE1-8F21-8C8A1735AD7A}"/>
          </ac:spMkLst>
        </pc:spChg>
        <pc:spChg chg="add del mod">
          <ac:chgData name="Yan, Jianfeng (uidm7513)" userId="839b7058-a334-4a47-b48c-10c67e575121" providerId="ADAL" clId="{A4372928-57E0-4D78-9638-4E23BED3D002}" dt="2021-07-26T09:06:19.190" v="204" actId="478"/>
          <ac:spMkLst>
            <pc:docMk/>
            <pc:sldMk cId="3224819037" sldId="9156"/>
            <ac:spMk id="10" creationId="{B8DEAD8A-49CC-4316-ACB9-14730E21BFDF}"/>
          </ac:spMkLst>
        </pc:spChg>
        <pc:spChg chg="add mod">
          <ac:chgData name="Yan, Jianfeng (uidm7513)" userId="839b7058-a334-4a47-b48c-10c67e575121" providerId="ADAL" clId="{A4372928-57E0-4D78-9638-4E23BED3D002}" dt="2021-07-26T09:03:02.735" v="192" actId="20577"/>
          <ac:spMkLst>
            <pc:docMk/>
            <pc:sldMk cId="3224819037" sldId="9156"/>
            <ac:spMk id="11" creationId="{7D770B02-02FC-4B66-804C-6C020B0A3DBE}"/>
          </ac:spMkLst>
        </pc:spChg>
        <pc:spChg chg="add mod">
          <ac:chgData name="Yan, Jianfeng (uidm7513)" userId="839b7058-a334-4a47-b48c-10c67e575121" providerId="ADAL" clId="{A4372928-57E0-4D78-9638-4E23BED3D002}" dt="2021-07-26T08:54:14.909" v="31" actId="207"/>
          <ac:spMkLst>
            <pc:docMk/>
            <pc:sldMk cId="3224819037" sldId="9156"/>
            <ac:spMk id="12" creationId="{460C4317-649B-44BE-96C6-DBE70C04631D}"/>
          </ac:spMkLst>
        </pc:spChg>
        <pc:spChg chg="add del mod">
          <ac:chgData name="Yan, Jianfeng (uidm7513)" userId="839b7058-a334-4a47-b48c-10c67e575121" providerId="ADAL" clId="{A4372928-57E0-4D78-9638-4E23BED3D002}" dt="2021-07-26T08:55:32.059" v="40" actId="478"/>
          <ac:spMkLst>
            <pc:docMk/>
            <pc:sldMk cId="3224819037" sldId="9156"/>
            <ac:spMk id="13" creationId="{9C15708D-A18A-4F2A-8913-279321A36944}"/>
          </ac:spMkLst>
        </pc:spChg>
        <pc:spChg chg="add del mod">
          <ac:chgData name="Yan, Jianfeng (uidm7513)" userId="839b7058-a334-4a47-b48c-10c67e575121" providerId="ADAL" clId="{A4372928-57E0-4D78-9638-4E23BED3D002}" dt="2021-07-26T08:59:07.089" v="137" actId="478"/>
          <ac:spMkLst>
            <pc:docMk/>
            <pc:sldMk cId="3224819037" sldId="9156"/>
            <ac:spMk id="14" creationId="{9B3EE7B0-5FF9-4172-BCBD-6B8914D17A03}"/>
          </ac:spMkLst>
        </pc:spChg>
        <pc:spChg chg="add del mod">
          <ac:chgData name="Yan, Jianfeng (uidm7513)" userId="839b7058-a334-4a47-b48c-10c67e575121" providerId="ADAL" clId="{A4372928-57E0-4D78-9638-4E23BED3D002}" dt="2021-07-26T08:59:07.089" v="137" actId="478"/>
          <ac:spMkLst>
            <pc:docMk/>
            <pc:sldMk cId="3224819037" sldId="9156"/>
            <ac:spMk id="15" creationId="{3D4D3D20-7B43-417D-9BA9-84809E122C67}"/>
          </ac:spMkLst>
        </pc:spChg>
        <pc:spChg chg="add del mod">
          <ac:chgData name="Yan, Jianfeng (uidm7513)" userId="839b7058-a334-4a47-b48c-10c67e575121" providerId="ADAL" clId="{A4372928-57E0-4D78-9638-4E23BED3D002}" dt="2021-07-26T08:58:29.617" v="74" actId="478"/>
          <ac:spMkLst>
            <pc:docMk/>
            <pc:sldMk cId="3224819037" sldId="9156"/>
            <ac:spMk id="16" creationId="{7F89B83F-8DDE-4DDF-9939-C95AF16DF68D}"/>
          </ac:spMkLst>
        </pc:spChg>
        <pc:spChg chg="add del mod">
          <ac:chgData name="Yan, Jianfeng (uidm7513)" userId="839b7058-a334-4a47-b48c-10c67e575121" providerId="ADAL" clId="{A4372928-57E0-4D78-9638-4E23BED3D002}" dt="2021-07-26T08:59:54.610" v="153" actId="478"/>
          <ac:spMkLst>
            <pc:docMk/>
            <pc:sldMk cId="3224819037" sldId="9156"/>
            <ac:spMk id="17" creationId="{971980A7-638D-4047-B42A-822E3406A52E}"/>
          </ac:spMkLst>
        </pc:spChg>
        <pc:spChg chg="add mod">
          <ac:chgData name="Yan, Jianfeng (uidm7513)" userId="839b7058-a334-4a47-b48c-10c67e575121" providerId="ADAL" clId="{A4372928-57E0-4D78-9638-4E23BED3D002}" dt="2021-07-26T09:00:30.855" v="172" actId="207"/>
          <ac:spMkLst>
            <pc:docMk/>
            <pc:sldMk cId="3224819037" sldId="9156"/>
            <ac:spMk id="18" creationId="{2863C63B-BFCF-4CEA-B8A5-F4C1FBC09D89}"/>
          </ac:spMkLst>
        </pc:spChg>
        <pc:spChg chg="add mod">
          <ac:chgData name="Yan, Jianfeng (uidm7513)" userId="839b7058-a334-4a47-b48c-10c67e575121" providerId="ADAL" clId="{A4372928-57E0-4D78-9638-4E23BED3D002}" dt="2021-07-26T09:00:26.213" v="171" actId="207"/>
          <ac:spMkLst>
            <pc:docMk/>
            <pc:sldMk cId="3224819037" sldId="9156"/>
            <ac:spMk id="19" creationId="{A80483EE-E1B1-4F20-B709-D32AB13883A4}"/>
          </ac:spMkLst>
        </pc:spChg>
        <pc:spChg chg="add mod">
          <ac:chgData name="Yan, Jianfeng (uidm7513)" userId="839b7058-a334-4a47-b48c-10c67e575121" providerId="ADAL" clId="{A4372928-57E0-4D78-9638-4E23BED3D002}" dt="2021-07-26T09:06:24.243" v="206" actId="207"/>
          <ac:spMkLst>
            <pc:docMk/>
            <pc:sldMk cId="3224819037" sldId="9156"/>
            <ac:spMk id="20" creationId="{45913101-A498-485C-B16E-4385BAAB9B0D}"/>
          </ac:spMkLst>
        </pc:spChg>
        <pc:spChg chg="add mod">
          <ac:chgData name="Yan, Jianfeng (uidm7513)" userId="839b7058-a334-4a47-b48c-10c67e575121" providerId="ADAL" clId="{A4372928-57E0-4D78-9638-4E23BED3D002}" dt="2021-07-26T09:24:49.706" v="238" actId="1076"/>
          <ac:spMkLst>
            <pc:docMk/>
            <pc:sldMk cId="3224819037" sldId="9156"/>
            <ac:spMk id="23" creationId="{EC491527-0538-461A-854B-62925E18DA65}"/>
          </ac:spMkLst>
        </pc:spChg>
        <pc:spChg chg="add mod">
          <ac:chgData name="Yan, Jianfeng (uidm7513)" userId="839b7058-a334-4a47-b48c-10c67e575121" providerId="ADAL" clId="{A4372928-57E0-4D78-9638-4E23BED3D002}" dt="2021-07-26T09:24:36.859" v="235" actId="20577"/>
          <ac:spMkLst>
            <pc:docMk/>
            <pc:sldMk cId="3224819037" sldId="9156"/>
            <ac:spMk id="24" creationId="{599BE33E-7459-4B71-BA19-88861AFE7FFD}"/>
          </ac:spMkLst>
        </pc:spChg>
        <pc:spChg chg="add mod">
          <ac:chgData name="Yan, Jianfeng (uidm7513)" userId="839b7058-a334-4a47-b48c-10c67e575121" providerId="ADAL" clId="{A4372928-57E0-4D78-9638-4E23BED3D002}" dt="2021-07-26T09:24:58.675" v="241" actId="20577"/>
          <ac:spMkLst>
            <pc:docMk/>
            <pc:sldMk cId="3224819037" sldId="9156"/>
            <ac:spMk id="26" creationId="{FD8BA93F-1D82-4CD0-A863-60C313747C02}"/>
          </ac:spMkLst>
        </pc:spChg>
        <pc:spChg chg="add mod">
          <ac:chgData name="Yan, Jianfeng (uidm7513)" userId="839b7058-a334-4a47-b48c-10c67e575121" providerId="ADAL" clId="{A4372928-57E0-4D78-9638-4E23BED3D002}" dt="2021-07-26T09:25:07.748" v="245" actId="20577"/>
          <ac:spMkLst>
            <pc:docMk/>
            <pc:sldMk cId="3224819037" sldId="9156"/>
            <ac:spMk id="27" creationId="{17E90A01-B7CF-49BF-AF54-AF9CB67AFC18}"/>
          </ac:spMkLst>
        </pc:spChg>
        <pc:spChg chg="add mod">
          <ac:chgData name="Yan, Jianfeng (uidm7513)" userId="839b7058-a334-4a47-b48c-10c67e575121" providerId="ADAL" clId="{A4372928-57E0-4D78-9638-4E23BED3D002}" dt="2021-07-26T09:28:18.357" v="278" actId="164"/>
          <ac:spMkLst>
            <pc:docMk/>
            <pc:sldMk cId="3224819037" sldId="9156"/>
            <ac:spMk id="30" creationId="{E8D6042D-C33D-4FBB-9D5E-A1BDBFE4D0C4}"/>
          </ac:spMkLst>
        </pc:spChg>
        <pc:spChg chg="add mod">
          <ac:chgData name="Yan, Jianfeng (uidm7513)" userId="839b7058-a334-4a47-b48c-10c67e575121" providerId="ADAL" clId="{A4372928-57E0-4D78-9638-4E23BED3D002}" dt="2021-07-26T09:28:18.357" v="278" actId="164"/>
          <ac:spMkLst>
            <pc:docMk/>
            <pc:sldMk cId="3224819037" sldId="9156"/>
            <ac:spMk id="31" creationId="{1A781082-A503-44C9-9473-BAF2EADF60A4}"/>
          </ac:spMkLst>
        </pc:spChg>
        <pc:grpChg chg="add del mod">
          <ac:chgData name="Yan, Jianfeng (uidm7513)" userId="839b7058-a334-4a47-b48c-10c67e575121" providerId="ADAL" clId="{A4372928-57E0-4D78-9638-4E23BED3D002}" dt="2021-07-26T11:33:16.918" v="621" actId="478"/>
          <ac:grpSpMkLst>
            <pc:docMk/>
            <pc:sldMk cId="3224819037" sldId="9156"/>
            <ac:grpSpMk id="64" creationId="{7598E79C-345E-4DB7-AC62-0D807C515970}"/>
          </ac:grpSpMkLst>
        </pc:grpChg>
        <pc:picChg chg="add del mod">
          <ac:chgData name="Yan, Jianfeng (uidm7513)" userId="839b7058-a334-4a47-b48c-10c67e575121" providerId="ADAL" clId="{A4372928-57E0-4D78-9638-4E23BED3D002}" dt="2021-07-26T09:21:48.427" v="219" actId="478"/>
          <ac:picMkLst>
            <pc:docMk/>
            <pc:sldMk cId="3224819037" sldId="9156"/>
            <ac:picMk id="2" creationId="{68C49E8D-C62F-4C83-9C5E-E514BA3938ED}"/>
          </ac:picMkLst>
        </pc:picChg>
        <pc:picChg chg="add mod">
          <ac:chgData name="Yan, Jianfeng (uidm7513)" userId="839b7058-a334-4a47-b48c-10c67e575121" providerId="ADAL" clId="{A4372928-57E0-4D78-9638-4E23BED3D002}" dt="2021-07-26T09:29:33.026" v="282" actId="1076"/>
          <ac:picMkLst>
            <pc:docMk/>
            <pc:sldMk cId="3224819037" sldId="9156"/>
            <ac:picMk id="21" creationId="{F783755B-4A47-476E-AF4A-4FD79D4BFC50}"/>
          </ac:picMkLst>
        </pc:picChg>
        <pc:cxnChg chg="add mod">
          <ac:chgData name="Yan, Jianfeng (uidm7513)" userId="839b7058-a334-4a47-b48c-10c67e575121" providerId="ADAL" clId="{A4372928-57E0-4D78-9638-4E23BED3D002}" dt="2021-07-26T11:33:31.829" v="628" actId="692"/>
          <ac:cxnSpMkLst>
            <pc:docMk/>
            <pc:sldMk cId="3224819037" sldId="9156"/>
            <ac:cxnSpMk id="4" creationId="{87D2855E-346D-45B6-96FA-144EFE342ACF}"/>
          </ac:cxnSpMkLst>
        </pc:cxnChg>
        <pc:cxnChg chg="add del mod">
          <ac:chgData name="Yan, Jianfeng (uidm7513)" userId="839b7058-a334-4a47-b48c-10c67e575121" providerId="ADAL" clId="{A4372928-57E0-4D78-9638-4E23BED3D002}" dt="2021-07-26T09:25:57.702" v="255" actId="478"/>
          <ac:cxnSpMkLst>
            <pc:docMk/>
            <pc:sldMk cId="3224819037" sldId="9156"/>
            <ac:cxnSpMk id="22" creationId="{BEF43EB3-1868-4CA0-894E-29BB5CF88276}"/>
          </ac:cxnSpMkLst>
        </pc:cxnChg>
        <pc:cxnChg chg="add mod">
          <ac:chgData name="Yan, Jianfeng (uidm7513)" userId="839b7058-a334-4a47-b48c-10c67e575121" providerId="ADAL" clId="{A4372928-57E0-4D78-9638-4E23BED3D002}" dt="2021-07-26T11:33:50.858" v="631" actId="14100"/>
          <ac:cxnSpMkLst>
            <pc:docMk/>
            <pc:sldMk cId="3224819037" sldId="9156"/>
            <ac:cxnSpMk id="28" creationId="{85CBF001-F4C0-4DA1-8D73-AABE31B1E2F7}"/>
          </ac:cxnSpMkLst>
        </pc:cxnChg>
        <pc:cxnChg chg="add del mod">
          <ac:chgData name="Yan, Jianfeng (uidm7513)" userId="839b7058-a334-4a47-b48c-10c67e575121" providerId="ADAL" clId="{A4372928-57E0-4D78-9638-4E23BED3D002}" dt="2021-07-26T09:25:55.166" v="254" actId="478"/>
          <ac:cxnSpMkLst>
            <pc:docMk/>
            <pc:sldMk cId="3224819037" sldId="9156"/>
            <ac:cxnSpMk id="29" creationId="{DDBFC9BD-102E-479A-9068-C3DDA0C2EFA5}"/>
          </ac:cxnSpMkLst>
        </pc:cxnChg>
      </pc:sldChg>
      <pc:sldChg chg="addSp delSp modSp mod">
        <pc:chgData name="Yan, Jianfeng (uidm7513)" userId="839b7058-a334-4a47-b48c-10c67e575121" providerId="ADAL" clId="{A4372928-57E0-4D78-9638-4E23BED3D002}" dt="2021-07-26T11:33:57.217" v="632"/>
        <pc:sldMkLst>
          <pc:docMk/>
          <pc:sldMk cId="2705640366" sldId="9157"/>
        </pc:sldMkLst>
        <pc:spChg chg="add mod">
          <ac:chgData name="Yan, Jianfeng (uidm7513)" userId="839b7058-a334-4a47-b48c-10c67e575121" providerId="ADAL" clId="{A4372928-57E0-4D78-9638-4E23BED3D002}" dt="2021-07-26T09:01:51.780" v="190" actId="20577"/>
          <ac:spMkLst>
            <pc:docMk/>
            <pc:sldMk cId="2705640366" sldId="9157"/>
            <ac:spMk id="5" creationId="{03074FE9-EC80-4B4F-90B7-73B79BAD6F6B}"/>
          </ac:spMkLst>
        </pc:spChg>
        <pc:spChg chg="add mod">
          <ac:chgData name="Yan, Jianfeng (uidm7513)" userId="839b7058-a334-4a47-b48c-10c67e575121" providerId="ADAL" clId="{A4372928-57E0-4D78-9638-4E23BED3D002}" dt="2021-07-26T08:58:21.222" v="73" actId="20577"/>
          <ac:spMkLst>
            <pc:docMk/>
            <pc:sldMk cId="2705640366" sldId="9157"/>
            <ac:spMk id="6" creationId="{82D7A732-965F-4A43-BA90-F291DC72A8E8}"/>
          </ac:spMkLst>
        </pc:spChg>
        <pc:spChg chg="del">
          <ac:chgData name="Yan, Jianfeng (uidm7513)" userId="839b7058-a334-4a47-b48c-10c67e575121" providerId="ADAL" clId="{A4372928-57E0-4D78-9638-4E23BED3D002}" dt="2021-07-26T08:56:10.133" v="42" actId="478"/>
          <ac:spMkLst>
            <pc:docMk/>
            <pc:sldMk cId="2705640366" sldId="9157"/>
            <ac:spMk id="7" creationId="{F2032AC1-C230-4280-8555-8203932F0ED0}"/>
          </ac:spMkLst>
        </pc:spChg>
        <pc:spChg chg="add mod">
          <ac:chgData name="Yan, Jianfeng (uidm7513)" userId="839b7058-a334-4a47-b48c-10c67e575121" providerId="ADAL" clId="{A4372928-57E0-4D78-9638-4E23BED3D002}" dt="2021-07-26T08:56:00.269" v="41"/>
          <ac:spMkLst>
            <pc:docMk/>
            <pc:sldMk cId="2705640366" sldId="9157"/>
            <ac:spMk id="8" creationId="{990C38C1-B489-4905-8A6D-BE9F1A8944CA}"/>
          </ac:spMkLst>
        </pc:spChg>
        <pc:spChg chg="add del mod">
          <ac:chgData name="Yan, Jianfeng (uidm7513)" userId="839b7058-a334-4a47-b48c-10c67e575121" providerId="ADAL" clId="{A4372928-57E0-4D78-9638-4E23BED3D002}" dt="2021-07-26T09:00:54.731" v="186" actId="478"/>
          <ac:spMkLst>
            <pc:docMk/>
            <pc:sldMk cId="2705640366" sldId="9157"/>
            <ac:spMk id="10" creationId="{6C7E7E60-7A90-4B08-9DA4-37E26003931E}"/>
          </ac:spMkLst>
        </pc:spChg>
        <pc:spChg chg="add del mod">
          <ac:chgData name="Yan, Jianfeng (uidm7513)" userId="839b7058-a334-4a47-b48c-10c67e575121" providerId="ADAL" clId="{A4372928-57E0-4D78-9638-4E23BED3D002}" dt="2021-07-26T09:00:54.731" v="186" actId="478"/>
          <ac:spMkLst>
            <pc:docMk/>
            <pc:sldMk cId="2705640366" sldId="9157"/>
            <ac:spMk id="11" creationId="{C30B70B9-3E93-47AF-A19D-D4274CA195D7}"/>
          </ac:spMkLst>
        </pc:spChg>
        <pc:spChg chg="add mod">
          <ac:chgData name="Yan, Jianfeng (uidm7513)" userId="839b7058-a334-4a47-b48c-10c67e575121" providerId="ADAL" clId="{A4372928-57E0-4D78-9638-4E23BED3D002}" dt="2021-07-26T09:03:44.486" v="199" actId="20577"/>
          <ac:spMkLst>
            <pc:docMk/>
            <pc:sldMk cId="2705640366" sldId="9157"/>
            <ac:spMk id="12" creationId="{C3942F06-E047-4053-BF6B-0D0D0FD0B6AF}"/>
          </ac:spMkLst>
        </pc:spChg>
        <pc:spChg chg="add mod">
          <ac:chgData name="Yan, Jianfeng (uidm7513)" userId="839b7058-a334-4a47-b48c-10c67e575121" providerId="ADAL" clId="{A4372928-57E0-4D78-9638-4E23BED3D002}" dt="2021-07-26T09:07:55.458" v="207" actId="14100"/>
          <ac:spMkLst>
            <pc:docMk/>
            <pc:sldMk cId="2705640366" sldId="9157"/>
            <ac:spMk id="13" creationId="{ACF8A486-E09F-4458-BC90-378BD68AE7DF}"/>
          </ac:spMkLst>
        </pc:spChg>
        <pc:spChg chg="add del mod">
          <ac:chgData name="Yan, Jianfeng (uidm7513)" userId="839b7058-a334-4a47-b48c-10c67e575121" providerId="ADAL" clId="{A4372928-57E0-4D78-9638-4E23BED3D002}" dt="2021-07-26T09:00:39.863" v="173" actId="478"/>
          <ac:spMkLst>
            <pc:docMk/>
            <pc:sldMk cId="2705640366" sldId="9157"/>
            <ac:spMk id="14" creationId="{8100412E-FCE5-4780-9430-19B241BEBD6B}"/>
          </ac:spMkLst>
        </pc:spChg>
        <pc:spChg chg="add mod">
          <ac:chgData name="Yan, Jianfeng (uidm7513)" userId="839b7058-a334-4a47-b48c-10c67e575121" providerId="ADAL" clId="{A4372928-57E0-4D78-9638-4E23BED3D002}" dt="2021-07-26T09:00:51.469" v="185" actId="207"/>
          <ac:spMkLst>
            <pc:docMk/>
            <pc:sldMk cId="2705640366" sldId="9157"/>
            <ac:spMk id="15" creationId="{F83915DF-5D1B-4C36-B68B-DB289441C431}"/>
          </ac:spMkLst>
        </pc:spChg>
        <pc:spChg chg="add del mod">
          <ac:chgData name="Yan, Jianfeng (uidm7513)" userId="839b7058-a334-4a47-b48c-10c67e575121" providerId="ADAL" clId="{A4372928-57E0-4D78-9638-4E23BED3D002}" dt="2021-07-26T09:00:39.863" v="173" actId="478"/>
          <ac:spMkLst>
            <pc:docMk/>
            <pc:sldMk cId="2705640366" sldId="9157"/>
            <ac:spMk id="16" creationId="{79C869C1-AF51-4764-9410-1A78044A8F3E}"/>
          </ac:spMkLst>
        </pc:spChg>
        <pc:spChg chg="add del mod">
          <ac:chgData name="Yan, Jianfeng (uidm7513)" userId="839b7058-a334-4a47-b48c-10c67e575121" providerId="ADAL" clId="{A4372928-57E0-4D78-9638-4E23BED3D002}" dt="2021-07-26T09:00:54.731" v="186" actId="478"/>
          <ac:spMkLst>
            <pc:docMk/>
            <pc:sldMk cId="2705640366" sldId="9157"/>
            <ac:spMk id="17" creationId="{393EF391-AFA1-4BB1-80D8-F232AB2954E7}"/>
          </ac:spMkLst>
        </pc:spChg>
        <pc:spChg chg="add mod">
          <ac:chgData name="Yan, Jianfeng (uidm7513)" userId="839b7058-a334-4a47-b48c-10c67e575121" providerId="ADAL" clId="{A4372928-57E0-4D78-9638-4E23BED3D002}" dt="2021-07-26T08:56:17.439" v="44" actId="20577"/>
          <ac:spMkLst>
            <pc:docMk/>
            <pc:sldMk cId="2705640366" sldId="9157"/>
            <ac:spMk id="18" creationId="{54387CF2-3FB8-4528-AF34-7E4F331D7BA0}"/>
          </ac:spMkLst>
        </pc:spChg>
        <pc:spChg chg="add mod">
          <ac:chgData name="Yan, Jianfeng (uidm7513)" userId="839b7058-a334-4a47-b48c-10c67e575121" providerId="ADAL" clId="{A4372928-57E0-4D78-9638-4E23BED3D002}" dt="2021-07-26T09:06:04.450" v="202" actId="14100"/>
          <ac:spMkLst>
            <pc:docMk/>
            <pc:sldMk cId="2705640366" sldId="9157"/>
            <ac:spMk id="19" creationId="{8B7A02B7-05CE-4426-A702-67BA2E3A098C}"/>
          </ac:spMkLst>
        </pc:spChg>
        <pc:spChg chg="add mod">
          <ac:chgData name="Yan, Jianfeng (uidm7513)" userId="839b7058-a334-4a47-b48c-10c67e575121" providerId="ADAL" clId="{A4372928-57E0-4D78-9638-4E23BED3D002}" dt="2021-07-26T09:01:02.477" v="187"/>
          <ac:spMkLst>
            <pc:docMk/>
            <pc:sldMk cId="2705640366" sldId="9157"/>
            <ac:spMk id="20" creationId="{4938A535-6AEB-4AC0-89B9-FC02AF943F24}"/>
          </ac:spMkLst>
        </pc:spChg>
        <pc:spChg chg="add del mod">
          <ac:chgData name="Yan, Jianfeng (uidm7513)" userId="839b7058-a334-4a47-b48c-10c67e575121" providerId="ADAL" clId="{A4372928-57E0-4D78-9638-4E23BED3D002}" dt="2021-07-26T09:01:26.355" v="189" actId="478"/>
          <ac:spMkLst>
            <pc:docMk/>
            <pc:sldMk cId="2705640366" sldId="9157"/>
            <ac:spMk id="21" creationId="{8E683F6B-9C78-4583-AD34-3278B43677E3}"/>
          </ac:spMkLst>
        </pc:spChg>
        <pc:spChg chg="add mod">
          <ac:chgData name="Yan, Jianfeng (uidm7513)" userId="839b7058-a334-4a47-b48c-10c67e575121" providerId="ADAL" clId="{A4372928-57E0-4D78-9638-4E23BED3D002}" dt="2021-07-26T09:29:17.239" v="281"/>
          <ac:spMkLst>
            <pc:docMk/>
            <pc:sldMk cId="2705640366" sldId="9157"/>
            <ac:spMk id="24" creationId="{DF8F7510-0E14-4C29-A6B5-66FD1C2E3451}"/>
          </ac:spMkLst>
        </pc:spChg>
        <pc:spChg chg="add mod">
          <ac:chgData name="Yan, Jianfeng (uidm7513)" userId="839b7058-a334-4a47-b48c-10c67e575121" providerId="ADAL" clId="{A4372928-57E0-4D78-9638-4E23BED3D002}" dt="2021-07-26T09:29:17.239" v="281"/>
          <ac:spMkLst>
            <pc:docMk/>
            <pc:sldMk cId="2705640366" sldId="9157"/>
            <ac:spMk id="25" creationId="{235DA97B-8812-436C-A1C5-C0E59C16012B}"/>
          </ac:spMkLst>
        </pc:spChg>
        <pc:spChg chg="add mod">
          <ac:chgData name="Yan, Jianfeng (uidm7513)" userId="839b7058-a334-4a47-b48c-10c67e575121" providerId="ADAL" clId="{A4372928-57E0-4D78-9638-4E23BED3D002}" dt="2021-07-26T09:29:17.239" v="281"/>
          <ac:spMkLst>
            <pc:docMk/>
            <pc:sldMk cId="2705640366" sldId="9157"/>
            <ac:spMk id="26" creationId="{4D6C2649-E8EB-4FAB-B729-446B49A552B5}"/>
          </ac:spMkLst>
        </pc:spChg>
        <pc:spChg chg="add mod">
          <ac:chgData name="Yan, Jianfeng (uidm7513)" userId="839b7058-a334-4a47-b48c-10c67e575121" providerId="ADAL" clId="{A4372928-57E0-4D78-9638-4E23BED3D002}" dt="2021-07-26T09:29:17.239" v="281"/>
          <ac:spMkLst>
            <pc:docMk/>
            <pc:sldMk cId="2705640366" sldId="9157"/>
            <ac:spMk id="27" creationId="{34786E12-1A25-4595-816D-4CCBB2C85EF6}"/>
          </ac:spMkLst>
        </pc:spChg>
        <pc:spChg chg="add mod">
          <ac:chgData name="Yan, Jianfeng (uidm7513)" userId="839b7058-a334-4a47-b48c-10c67e575121" providerId="ADAL" clId="{A4372928-57E0-4D78-9638-4E23BED3D002}" dt="2021-07-26T09:29:17.239" v="281"/>
          <ac:spMkLst>
            <pc:docMk/>
            <pc:sldMk cId="2705640366" sldId="9157"/>
            <ac:spMk id="28" creationId="{7AC7AE8A-0ECE-4AC7-9642-2C69BF1E51E6}"/>
          </ac:spMkLst>
        </pc:spChg>
        <pc:spChg chg="mod">
          <ac:chgData name="Yan, Jianfeng (uidm7513)" userId="839b7058-a334-4a47-b48c-10c67e575121" providerId="ADAL" clId="{A4372928-57E0-4D78-9638-4E23BED3D002}" dt="2021-07-26T09:29:17.239" v="281"/>
          <ac:spMkLst>
            <pc:docMk/>
            <pc:sldMk cId="2705640366" sldId="9157"/>
            <ac:spMk id="30" creationId="{D7B1FC05-CE73-4B51-9DF4-F7A09E4535AF}"/>
          </ac:spMkLst>
        </pc:spChg>
        <pc:spChg chg="mod">
          <ac:chgData name="Yan, Jianfeng (uidm7513)" userId="839b7058-a334-4a47-b48c-10c67e575121" providerId="ADAL" clId="{A4372928-57E0-4D78-9638-4E23BED3D002}" dt="2021-07-26T09:29:17.239" v="281"/>
          <ac:spMkLst>
            <pc:docMk/>
            <pc:sldMk cId="2705640366" sldId="9157"/>
            <ac:spMk id="31" creationId="{07B284A4-7549-4692-B06F-3924C3143F2A}"/>
          </ac:spMkLst>
        </pc:spChg>
        <pc:spChg chg="mod">
          <ac:chgData name="Yan, Jianfeng (uidm7513)" userId="839b7058-a334-4a47-b48c-10c67e575121" providerId="ADAL" clId="{A4372928-57E0-4D78-9638-4E23BED3D002}" dt="2021-07-26T09:30:14.692" v="287"/>
          <ac:spMkLst>
            <pc:docMk/>
            <pc:sldMk cId="2705640366" sldId="9157"/>
            <ac:spMk id="33" creationId="{40CD0651-B174-4908-933A-292F84ED4B7A}"/>
          </ac:spMkLst>
        </pc:spChg>
        <pc:spChg chg="mod">
          <ac:chgData name="Yan, Jianfeng (uidm7513)" userId="839b7058-a334-4a47-b48c-10c67e575121" providerId="ADAL" clId="{A4372928-57E0-4D78-9638-4E23BED3D002}" dt="2021-07-26T09:30:14.692" v="287"/>
          <ac:spMkLst>
            <pc:docMk/>
            <pc:sldMk cId="2705640366" sldId="9157"/>
            <ac:spMk id="34" creationId="{9CF0BD0D-C473-4EEC-B4E4-54F78C99938A}"/>
          </ac:spMkLst>
        </pc:spChg>
        <pc:grpChg chg="add del mod">
          <ac:chgData name="Yan, Jianfeng (uidm7513)" userId="839b7058-a334-4a47-b48c-10c67e575121" providerId="ADAL" clId="{A4372928-57E0-4D78-9638-4E23BED3D002}" dt="2021-07-26T09:30:13.801" v="286" actId="478"/>
          <ac:grpSpMkLst>
            <pc:docMk/>
            <pc:sldMk cId="2705640366" sldId="9157"/>
            <ac:grpSpMk id="29" creationId="{E1C10545-BB28-4521-9310-D6CA03929AEB}"/>
          </ac:grpSpMkLst>
        </pc:grpChg>
        <pc:grpChg chg="add del mod">
          <ac:chgData name="Yan, Jianfeng (uidm7513)" userId="839b7058-a334-4a47-b48c-10c67e575121" providerId="ADAL" clId="{A4372928-57E0-4D78-9638-4E23BED3D002}" dt="2021-07-26T11:33:10.669" v="620" actId="478"/>
          <ac:grpSpMkLst>
            <pc:docMk/>
            <pc:sldMk cId="2705640366" sldId="9157"/>
            <ac:grpSpMk id="32" creationId="{8C4EA273-A720-41C7-8680-29E2ECB044AB}"/>
          </ac:grpSpMkLst>
        </pc:grpChg>
        <pc:picChg chg="add mod">
          <ac:chgData name="Yan, Jianfeng (uidm7513)" userId="839b7058-a334-4a47-b48c-10c67e575121" providerId="ADAL" clId="{A4372928-57E0-4D78-9638-4E23BED3D002}" dt="2021-07-26T09:29:40.866" v="283" actId="1076"/>
          <ac:picMkLst>
            <pc:docMk/>
            <pc:sldMk cId="2705640366" sldId="9157"/>
            <ac:picMk id="2" creationId="{6E2DEEF4-CC35-4017-BE5F-6970B615BD23}"/>
          </ac:picMkLst>
        </pc:picChg>
        <pc:picChg chg="add del mod">
          <ac:chgData name="Yan, Jianfeng (uidm7513)" userId="839b7058-a334-4a47-b48c-10c67e575121" providerId="ADAL" clId="{A4372928-57E0-4D78-9638-4E23BED3D002}" dt="2021-07-26T09:21:45.917" v="218" actId="21"/>
          <ac:picMkLst>
            <pc:docMk/>
            <pc:sldMk cId="2705640366" sldId="9157"/>
            <ac:picMk id="23" creationId="{6F6810AA-BE51-4FBE-BCF6-C2F93FE0A688}"/>
          </ac:picMkLst>
        </pc:picChg>
        <pc:cxnChg chg="add mod">
          <ac:chgData name="Yan, Jianfeng (uidm7513)" userId="839b7058-a334-4a47-b48c-10c67e575121" providerId="ADAL" clId="{A4372928-57E0-4D78-9638-4E23BED3D002}" dt="2021-07-26T11:33:57.217" v="632"/>
          <ac:cxnSpMkLst>
            <pc:docMk/>
            <pc:sldMk cId="2705640366" sldId="9157"/>
            <ac:cxnSpMk id="23" creationId="{B9DF54EB-3FB5-4145-A3FF-30FB02032488}"/>
          </ac:cxnSpMkLst>
        </pc:cxnChg>
        <pc:cxnChg chg="add mod">
          <ac:chgData name="Yan, Jianfeng (uidm7513)" userId="839b7058-a334-4a47-b48c-10c67e575121" providerId="ADAL" clId="{A4372928-57E0-4D78-9638-4E23BED3D002}" dt="2021-07-26T11:33:57.217" v="632"/>
          <ac:cxnSpMkLst>
            <pc:docMk/>
            <pc:sldMk cId="2705640366" sldId="9157"/>
            <ac:cxnSpMk id="29" creationId="{04D2B6A7-86B3-4E99-A521-C100BE8256C2}"/>
          </ac:cxnSpMkLst>
        </pc:cxnChg>
      </pc:sldChg>
      <pc:sldChg chg="modSp mod">
        <pc:chgData name="Yan, Jianfeng (uidm7513)" userId="839b7058-a334-4a47-b48c-10c67e575121" providerId="ADAL" clId="{A4372928-57E0-4D78-9638-4E23BED3D002}" dt="2021-07-26T11:46:14.732" v="1238" actId="20577"/>
        <pc:sldMkLst>
          <pc:docMk/>
          <pc:sldMk cId="3861626015" sldId="9173"/>
        </pc:sldMkLst>
        <pc:graphicFrameChg chg="mod modGraphic">
          <ac:chgData name="Yan, Jianfeng (uidm7513)" userId="839b7058-a334-4a47-b48c-10c67e575121" providerId="ADAL" clId="{A4372928-57E0-4D78-9638-4E23BED3D002}" dt="2021-07-26T11:46:14.732" v="1238" actId="20577"/>
          <ac:graphicFrameMkLst>
            <pc:docMk/>
            <pc:sldMk cId="3861626015" sldId="9173"/>
            <ac:graphicFrameMk id="10" creationId="{618D1EEF-48F1-446E-843C-650199AAA05F}"/>
          </ac:graphicFrameMkLst>
        </pc:graphicFrameChg>
      </pc:sldChg>
      <pc:sldChg chg="new del">
        <pc:chgData name="Yan, Jianfeng (uidm7513)" userId="839b7058-a334-4a47-b48c-10c67e575121" providerId="ADAL" clId="{A4372928-57E0-4D78-9638-4E23BED3D002}" dt="2021-07-26T11:31:39.002" v="612" actId="47"/>
        <pc:sldMkLst>
          <pc:docMk/>
          <pc:sldMk cId="3769541197" sldId="9175"/>
        </pc:sldMkLst>
      </pc:sldChg>
      <pc:sldChg chg="modSp add mod">
        <pc:chgData name="Yan, Jianfeng (uidm7513)" userId="839b7058-a334-4a47-b48c-10c67e575121" providerId="ADAL" clId="{A4372928-57E0-4D78-9638-4E23BED3D002}" dt="2021-07-26T11:58:53.741" v="1682" actId="2165"/>
        <pc:sldMkLst>
          <pc:docMk/>
          <pc:sldMk cId="3353747574" sldId="9176"/>
        </pc:sldMkLst>
        <pc:spChg chg="mod">
          <ac:chgData name="Yan, Jianfeng (uidm7513)" userId="839b7058-a334-4a47-b48c-10c67e575121" providerId="ADAL" clId="{A4372928-57E0-4D78-9638-4E23BED3D002}" dt="2021-07-26T11:31:42.669" v="613" actId="20577"/>
          <ac:spMkLst>
            <pc:docMk/>
            <pc:sldMk cId="3353747574" sldId="9176"/>
            <ac:spMk id="2" creationId="{9D89D658-8F29-4A71-86C5-A00AC217D7ED}"/>
          </ac:spMkLst>
        </pc:spChg>
        <pc:graphicFrameChg chg="modGraphic">
          <ac:chgData name="Yan, Jianfeng (uidm7513)" userId="839b7058-a334-4a47-b48c-10c67e575121" providerId="ADAL" clId="{A4372928-57E0-4D78-9638-4E23BED3D002}" dt="2021-07-26T11:58:53.741" v="1682" actId="2165"/>
          <ac:graphicFrameMkLst>
            <pc:docMk/>
            <pc:sldMk cId="3353747574" sldId="9176"/>
            <ac:graphicFrameMk id="10" creationId="{618D1EEF-48F1-446E-843C-650199AAA05F}"/>
          </ac:graphicFrameMkLst>
        </pc:graphicFrameChg>
      </pc:sldChg>
    </pc:docChg>
  </pc:docChgLst>
  <pc:docChgLst>
    <pc:chgData name="zhou, feng04 (uib17952)" userId="3ed11085-d91d-4eca-9c57-e1bb3b86c1aa" providerId="ADAL" clId="{CE36C543-3DCA-4DE2-80D8-D230E399B2AE}"/>
    <pc:docChg chg="custSel modSld">
      <pc:chgData name="zhou, feng04 (uib17952)" userId="3ed11085-d91d-4eca-9c57-e1bb3b86c1aa" providerId="ADAL" clId="{CE36C543-3DCA-4DE2-80D8-D230E399B2AE}" dt="2021-07-27T00:54:46.015" v="6" actId="478"/>
      <pc:docMkLst>
        <pc:docMk/>
      </pc:docMkLst>
      <pc:sldChg chg="delSp mod">
        <pc:chgData name="zhou, feng04 (uib17952)" userId="3ed11085-d91d-4eca-9c57-e1bb3b86c1aa" providerId="ADAL" clId="{CE36C543-3DCA-4DE2-80D8-D230E399B2AE}" dt="2021-07-27T00:52:53.817" v="0" actId="478"/>
        <pc:sldMkLst>
          <pc:docMk/>
          <pc:sldMk cId="1550834251" sldId="9158"/>
        </pc:sldMkLst>
        <pc:spChg chg="del">
          <ac:chgData name="zhou, feng04 (uib17952)" userId="3ed11085-d91d-4eca-9c57-e1bb3b86c1aa" providerId="ADAL" clId="{CE36C543-3DCA-4DE2-80D8-D230E399B2AE}" dt="2021-07-27T00:52:53.817" v="0" actId="478"/>
          <ac:spMkLst>
            <pc:docMk/>
            <pc:sldMk cId="1550834251" sldId="9158"/>
            <ac:spMk id="9" creationId="{2D122391-DF9B-431A-9D60-2F5922FA2450}"/>
          </ac:spMkLst>
        </pc:spChg>
      </pc:sldChg>
      <pc:sldChg chg="delSp mod">
        <pc:chgData name="zhou, feng04 (uib17952)" userId="3ed11085-d91d-4eca-9c57-e1bb3b86c1aa" providerId="ADAL" clId="{CE36C543-3DCA-4DE2-80D8-D230E399B2AE}" dt="2021-07-27T00:53:06.715" v="1" actId="478"/>
        <pc:sldMkLst>
          <pc:docMk/>
          <pc:sldMk cId="2437610357" sldId="9159"/>
        </pc:sldMkLst>
        <pc:spChg chg="del">
          <ac:chgData name="zhou, feng04 (uib17952)" userId="3ed11085-d91d-4eca-9c57-e1bb3b86c1aa" providerId="ADAL" clId="{CE36C543-3DCA-4DE2-80D8-D230E399B2AE}" dt="2021-07-27T00:53:06.715" v="1" actId="478"/>
          <ac:spMkLst>
            <pc:docMk/>
            <pc:sldMk cId="2437610357" sldId="9159"/>
            <ac:spMk id="6" creationId="{2682C785-0F0B-4990-A3E3-15FAE96B25C8}"/>
          </ac:spMkLst>
        </pc:spChg>
      </pc:sldChg>
      <pc:sldChg chg="delSp mod">
        <pc:chgData name="zhou, feng04 (uib17952)" userId="3ed11085-d91d-4eca-9c57-e1bb3b86c1aa" providerId="ADAL" clId="{CE36C543-3DCA-4DE2-80D8-D230E399B2AE}" dt="2021-07-27T00:53:26.515" v="3" actId="478"/>
        <pc:sldMkLst>
          <pc:docMk/>
          <pc:sldMk cId="2457400190" sldId="9160"/>
        </pc:sldMkLst>
        <pc:spChg chg="del">
          <ac:chgData name="zhou, feng04 (uib17952)" userId="3ed11085-d91d-4eca-9c57-e1bb3b86c1aa" providerId="ADAL" clId="{CE36C543-3DCA-4DE2-80D8-D230E399B2AE}" dt="2021-07-27T00:53:26.515" v="3" actId="478"/>
          <ac:spMkLst>
            <pc:docMk/>
            <pc:sldMk cId="2457400190" sldId="9160"/>
            <ac:spMk id="3" creationId="{6897F25C-546A-42ED-809C-2AFDFF183223}"/>
          </ac:spMkLst>
        </pc:spChg>
      </pc:sldChg>
      <pc:sldChg chg="delSp mod">
        <pc:chgData name="zhou, feng04 (uib17952)" userId="3ed11085-d91d-4eca-9c57-e1bb3b86c1aa" providerId="ADAL" clId="{CE36C543-3DCA-4DE2-80D8-D230E399B2AE}" dt="2021-07-27T00:53:18.990" v="2" actId="478"/>
        <pc:sldMkLst>
          <pc:docMk/>
          <pc:sldMk cId="2583216560" sldId="9161"/>
        </pc:sldMkLst>
        <pc:spChg chg="del">
          <ac:chgData name="zhou, feng04 (uib17952)" userId="3ed11085-d91d-4eca-9c57-e1bb3b86c1aa" providerId="ADAL" clId="{CE36C543-3DCA-4DE2-80D8-D230E399B2AE}" dt="2021-07-27T00:53:18.990" v="2" actId="478"/>
          <ac:spMkLst>
            <pc:docMk/>
            <pc:sldMk cId="2583216560" sldId="9161"/>
            <ac:spMk id="3" creationId="{4C967480-6A34-49AB-9D0E-4E9DE080347A}"/>
          </ac:spMkLst>
        </pc:spChg>
      </pc:sldChg>
      <pc:sldChg chg="delSp mod">
        <pc:chgData name="zhou, feng04 (uib17952)" userId="3ed11085-d91d-4eca-9c57-e1bb3b86c1aa" providerId="ADAL" clId="{CE36C543-3DCA-4DE2-80D8-D230E399B2AE}" dt="2021-07-27T00:54:27.567" v="4" actId="478"/>
        <pc:sldMkLst>
          <pc:docMk/>
          <pc:sldMk cId="2336666275" sldId="9162"/>
        </pc:sldMkLst>
        <pc:spChg chg="del">
          <ac:chgData name="zhou, feng04 (uib17952)" userId="3ed11085-d91d-4eca-9c57-e1bb3b86c1aa" providerId="ADAL" clId="{CE36C543-3DCA-4DE2-80D8-D230E399B2AE}" dt="2021-07-27T00:54:27.567" v="4" actId="478"/>
          <ac:spMkLst>
            <pc:docMk/>
            <pc:sldMk cId="2336666275" sldId="9162"/>
            <ac:spMk id="6" creationId="{2682C785-0F0B-4990-A3E3-15FAE96B25C8}"/>
          </ac:spMkLst>
        </pc:spChg>
      </pc:sldChg>
      <pc:sldChg chg="delSp mod">
        <pc:chgData name="zhou, feng04 (uib17952)" userId="3ed11085-d91d-4eca-9c57-e1bb3b86c1aa" providerId="ADAL" clId="{CE36C543-3DCA-4DE2-80D8-D230E399B2AE}" dt="2021-07-27T00:54:40.395" v="5" actId="478"/>
        <pc:sldMkLst>
          <pc:docMk/>
          <pc:sldMk cId="1684427352" sldId="9163"/>
        </pc:sldMkLst>
        <pc:spChg chg="del">
          <ac:chgData name="zhou, feng04 (uib17952)" userId="3ed11085-d91d-4eca-9c57-e1bb3b86c1aa" providerId="ADAL" clId="{CE36C543-3DCA-4DE2-80D8-D230E399B2AE}" dt="2021-07-27T00:54:40.395" v="5" actId="478"/>
          <ac:spMkLst>
            <pc:docMk/>
            <pc:sldMk cId="1684427352" sldId="9163"/>
            <ac:spMk id="6" creationId="{2682C785-0F0B-4990-A3E3-15FAE96B25C8}"/>
          </ac:spMkLst>
        </pc:spChg>
      </pc:sldChg>
      <pc:sldChg chg="delSp mod">
        <pc:chgData name="zhou, feng04 (uib17952)" userId="3ed11085-d91d-4eca-9c57-e1bb3b86c1aa" providerId="ADAL" clId="{CE36C543-3DCA-4DE2-80D8-D230E399B2AE}" dt="2021-07-27T00:54:46.015" v="6" actId="478"/>
        <pc:sldMkLst>
          <pc:docMk/>
          <pc:sldMk cId="1887366670" sldId="9164"/>
        </pc:sldMkLst>
        <pc:spChg chg="del">
          <ac:chgData name="zhou, feng04 (uib17952)" userId="3ed11085-d91d-4eca-9c57-e1bb3b86c1aa" providerId="ADAL" clId="{CE36C543-3DCA-4DE2-80D8-D230E399B2AE}" dt="2021-07-27T00:54:46.015" v="6" actId="478"/>
          <ac:spMkLst>
            <pc:docMk/>
            <pc:sldMk cId="1887366670" sldId="9164"/>
            <ac:spMk id="6" creationId="{2682C785-0F0B-4990-A3E3-15FAE96B25C8}"/>
          </ac:spMkLst>
        </pc:spChg>
      </pc:sldChg>
    </pc:docChg>
  </pc:docChgLst>
  <pc:docChgLst>
    <pc:chgData name="Yu, Jiabo (uib46828)" userId="S::uib46828@contiwan.com::e94ed159-0ba9-4288-823b-24757ec9f38f" providerId="AD" clId="Web-{359A7996-9F9C-4EA6-86FE-E2F031A71052}"/>
    <pc:docChg chg="modSld">
      <pc:chgData name="Yu, Jiabo (uib46828)" userId="S::uib46828@contiwan.com::e94ed159-0ba9-4288-823b-24757ec9f38f" providerId="AD" clId="Web-{359A7996-9F9C-4EA6-86FE-E2F031A71052}" dt="2021-07-26T22:23:02.113" v="1630" actId="20577"/>
      <pc:docMkLst>
        <pc:docMk/>
      </pc:docMkLst>
      <pc:sldChg chg="modSp">
        <pc:chgData name="Yu, Jiabo (uib46828)" userId="S::uib46828@contiwan.com::e94ed159-0ba9-4288-823b-24757ec9f38f" providerId="AD" clId="Web-{359A7996-9F9C-4EA6-86FE-E2F031A71052}" dt="2021-07-26T22:22:53.441" v="1628" actId="20577"/>
        <pc:sldMkLst>
          <pc:docMk/>
          <pc:sldMk cId="2437610357" sldId="9159"/>
        </pc:sldMkLst>
        <pc:spChg chg="mod">
          <ac:chgData name="Yu, Jiabo (uib46828)" userId="S::uib46828@contiwan.com::e94ed159-0ba9-4288-823b-24757ec9f38f" providerId="AD" clId="Web-{359A7996-9F9C-4EA6-86FE-E2F031A71052}" dt="2021-07-26T21:39:59.183" v="1059" actId="20577"/>
          <ac:spMkLst>
            <pc:docMk/>
            <pc:sldMk cId="2437610357" sldId="9159"/>
            <ac:spMk id="2" creationId="{E60209F4-07E4-4987-9BE5-0DC86413D54E}"/>
          </ac:spMkLst>
        </pc:spChg>
        <pc:spChg chg="mod">
          <ac:chgData name="Yu, Jiabo (uib46828)" userId="S::uib46828@contiwan.com::e94ed159-0ba9-4288-823b-24757ec9f38f" providerId="AD" clId="Web-{359A7996-9F9C-4EA6-86FE-E2F031A71052}" dt="2021-07-26T22:22:53.441" v="1628" actId="20577"/>
          <ac:spMkLst>
            <pc:docMk/>
            <pc:sldMk cId="2437610357" sldId="9159"/>
            <ac:spMk id="6" creationId="{2682C785-0F0B-4990-A3E3-15FAE96B25C8}"/>
          </ac:spMkLst>
        </pc:spChg>
      </pc:sldChg>
      <pc:sldChg chg="addSp delSp modSp">
        <pc:chgData name="Yu, Jiabo (uib46828)" userId="S::uib46828@contiwan.com::e94ed159-0ba9-4288-823b-24757ec9f38f" providerId="AD" clId="Web-{359A7996-9F9C-4EA6-86FE-E2F031A71052}" dt="2021-07-26T22:23:02.113" v="1630" actId="20577"/>
        <pc:sldMkLst>
          <pc:docMk/>
          <pc:sldMk cId="2457400190" sldId="9160"/>
        </pc:sldMkLst>
        <pc:spChg chg="mod">
          <ac:chgData name="Yu, Jiabo (uib46828)" userId="S::uib46828@contiwan.com::e94ed159-0ba9-4288-823b-24757ec9f38f" providerId="AD" clId="Web-{359A7996-9F9C-4EA6-86FE-E2F031A71052}" dt="2021-07-26T22:20:40.682" v="1613" actId="20577"/>
          <ac:spMkLst>
            <pc:docMk/>
            <pc:sldMk cId="2457400190" sldId="9160"/>
            <ac:spMk id="2" creationId="{A3D6D03B-D7AE-42FB-A266-2463C10D678D}"/>
          </ac:spMkLst>
        </pc:spChg>
        <pc:spChg chg="add mod">
          <ac:chgData name="Yu, Jiabo (uib46828)" userId="S::uib46828@contiwan.com::e94ed159-0ba9-4288-823b-24757ec9f38f" providerId="AD" clId="Web-{359A7996-9F9C-4EA6-86FE-E2F031A71052}" dt="2021-07-26T22:23:02.113" v="1630" actId="20577"/>
          <ac:spMkLst>
            <pc:docMk/>
            <pc:sldMk cId="2457400190" sldId="9160"/>
            <ac:spMk id="3" creationId="{6897F25C-546A-42ED-809C-2AFDFF183223}"/>
          </ac:spMkLst>
        </pc:spChg>
        <pc:spChg chg="del">
          <ac:chgData name="Yu, Jiabo (uib46828)" userId="S::uib46828@contiwan.com::e94ed159-0ba9-4288-823b-24757ec9f38f" providerId="AD" clId="Web-{359A7996-9F9C-4EA6-86FE-E2F031A71052}" dt="2021-07-26T21:25:08.802" v="667"/>
          <ac:spMkLst>
            <pc:docMk/>
            <pc:sldMk cId="2457400190" sldId="9160"/>
            <ac:spMk id="6" creationId="{2682C785-0F0B-4990-A3E3-15FAE96B25C8}"/>
          </ac:spMkLst>
        </pc:spChg>
      </pc:sldChg>
      <pc:sldChg chg="addSp delSp modSp">
        <pc:chgData name="Yu, Jiabo (uib46828)" userId="S::uib46828@contiwan.com::e94ed159-0ba9-4288-823b-24757ec9f38f" providerId="AD" clId="Web-{359A7996-9F9C-4EA6-86FE-E2F031A71052}" dt="2021-07-26T22:22:58.175" v="1629" actId="20577"/>
        <pc:sldMkLst>
          <pc:docMk/>
          <pc:sldMk cId="2583216560" sldId="9161"/>
        </pc:sldMkLst>
        <pc:spChg chg="mod">
          <ac:chgData name="Yu, Jiabo (uib46828)" userId="S::uib46828@contiwan.com::e94ed159-0ba9-4288-823b-24757ec9f38f" providerId="AD" clId="Web-{359A7996-9F9C-4EA6-86FE-E2F031A71052}" dt="2021-07-26T22:14:48.596" v="1371" actId="20577"/>
          <ac:spMkLst>
            <pc:docMk/>
            <pc:sldMk cId="2583216560" sldId="9161"/>
            <ac:spMk id="2" creationId="{4C8FB788-D298-476D-BFE2-0A3959BF1C27}"/>
          </ac:spMkLst>
        </pc:spChg>
        <pc:spChg chg="add mod">
          <ac:chgData name="Yu, Jiabo (uib46828)" userId="S::uib46828@contiwan.com::e94ed159-0ba9-4288-823b-24757ec9f38f" providerId="AD" clId="Web-{359A7996-9F9C-4EA6-86FE-E2F031A71052}" dt="2021-07-26T22:22:58.175" v="1629" actId="20577"/>
          <ac:spMkLst>
            <pc:docMk/>
            <pc:sldMk cId="2583216560" sldId="9161"/>
            <ac:spMk id="3" creationId="{4C967480-6A34-49AB-9D0E-4E9DE080347A}"/>
          </ac:spMkLst>
        </pc:spChg>
        <pc:spChg chg="del">
          <ac:chgData name="Yu, Jiabo (uib46828)" userId="S::uib46828@contiwan.com::e94ed159-0ba9-4288-823b-24757ec9f38f" providerId="AD" clId="Web-{359A7996-9F9C-4EA6-86FE-E2F031A71052}" dt="2021-07-26T21:25:00.099" v="664"/>
          <ac:spMkLst>
            <pc:docMk/>
            <pc:sldMk cId="2583216560" sldId="9161"/>
            <ac:spMk id="6" creationId="{2682C785-0F0B-4990-A3E3-15FAE96B25C8}"/>
          </ac:spMkLst>
        </pc:spChg>
      </pc:sldChg>
      <pc:sldChg chg="addSp delSp modSp">
        <pc:chgData name="Yu, Jiabo (uib46828)" userId="S::uib46828@contiwan.com::e94ed159-0ba9-4288-823b-24757ec9f38f" providerId="AD" clId="Web-{359A7996-9F9C-4EA6-86FE-E2F031A71052}" dt="2021-07-26T22:22:17.159" v="1627"/>
        <pc:sldMkLst>
          <pc:docMk/>
          <pc:sldMk cId="563985041" sldId="9170"/>
        </pc:sldMkLst>
        <pc:spChg chg="add del mod">
          <ac:chgData name="Yu, Jiabo (uib46828)" userId="S::uib46828@contiwan.com::e94ed159-0ba9-4288-823b-24757ec9f38f" providerId="AD" clId="Web-{359A7996-9F9C-4EA6-86FE-E2F031A71052}" dt="2021-07-26T22:22:17.159" v="1627"/>
          <ac:spMkLst>
            <pc:docMk/>
            <pc:sldMk cId="563985041" sldId="9170"/>
            <ac:spMk id="2" creationId="{665D26DF-7604-4C2A-AD70-A5F6F825D5C3}"/>
          </ac:spMkLst>
        </pc:spChg>
      </pc:sldChg>
    </pc:docChg>
  </pc:docChgLst>
  <pc:docChgLst>
    <pc:chgData name="Yan, Jianfeng (uidm7513)" userId="S::uidm7513@contiwan.com::839b7058-a334-4a47-b48c-10c67e575121" providerId="AD" clId="Web-{2C6CAA31-EDA8-4B7B-B565-BE5CB00A2082}"/>
    <pc:docChg chg="modSld">
      <pc:chgData name="Yan, Jianfeng (uidm7513)" userId="S::uidm7513@contiwan.com::839b7058-a334-4a47-b48c-10c67e575121" providerId="AD" clId="Web-{2C6CAA31-EDA8-4B7B-B565-BE5CB00A2082}" dt="2021-07-26T08:49:31.456" v="6"/>
      <pc:docMkLst>
        <pc:docMk/>
      </pc:docMkLst>
      <pc:sldChg chg="addSp delSp modSp">
        <pc:chgData name="Yan, Jianfeng (uidm7513)" userId="S::uidm7513@contiwan.com::839b7058-a334-4a47-b48c-10c67e575121" providerId="AD" clId="Web-{2C6CAA31-EDA8-4B7B-B565-BE5CB00A2082}" dt="2021-07-26T08:49:31.456" v="6"/>
        <pc:sldMkLst>
          <pc:docMk/>
          <pc:sldMk cId="3224819037" sldId="9156"/>
        </pc:sldMkLst>
        <pc:picChg chg="add del mod">
          <ac:chgData name="Yan, Jianfeng (uidm7513)" userId="S::uidm7513@contiwan.com::839b7058-a334-4a47-b48c-10c67e575121" providerId="AD" clId="Web-{2C6CAA31-EDA8-4B7B-B565-BE5CB00A2082}" dt="2021-07-26T08:49:31.456" v="6"/>
          <ac:picMkLst>
            <pc:docMk/>
            <pc:sldMk cId="3224819037" sldId="9156"/>
            <ac:picMk id="2" creationId="{9B960FA7-3510-4593-8D23-7D00FDF7A53A}"/>
          </ac:picMkLst>
        </pc:picChg>
      </pc:sldChg>
    </pc:docChg>
  </pc:docChgLst>
  <pc:docChgLst>
    <pc:chgData name="Li, Huanxun (uia92758)" userId="81a1414a-be91-4d3f-9d67-dddc667dd025" providerId="ADAL" clId="{67ACF39E-05FD-489B-AF22-E6E09572EAA1}"/>
    <pc:docChg chg="undo custSel modSld">
      <pc:chgData name="Li, Huanxun (uia92758)" userId="81a1414a-be91-4d3f-9d67-dddc667dd025" providerId="ADAL" clId="{67ACF39E-05FD-489B-AF22-E6E09572EAA1}" dt="2021-07-26T12:34:51.315" v="2008" actId="1076"/>
      <pc:docMkLst>
        <pc:docMk/>
      </pc:docMkLst>
      <pc:sldChg chg="addSp delSp modSp mod">
        <pc:chgData name="Li, Huanxun (uia92758)" userId="81a1414a-be91-4d3f-9d67-dddc667dd025" providerId="ADAL" clId="{67ACF39E-05FD-489B-AF22-E6E09572EAA1}" dt="2021-07-26T12:34:51.315" v="2008" actId="1076"/>
        <pc:sldMkLst>
          <pc:docMk/>
          <pc:sldMk cId="1550834251" sldId="9158"/>
        </pc:sldMkLst>
        <pc:spChg chg="add del mod">
          <ac:chgData name="Li, Huanxun (uia92758)" userId="81a1414a-be91-4d3f-9d67-dddc667dd025" providerId="ADAL" clId="{67ACF39E-05FD-489B-AF22-E6E09572EAA1}" dt="2021-07-26T09:43:15.945" v="34" actId="478"/>
          <ac:spMkLst>
            <pc:docMk/>
            <pc:sldMk cId="1550834251" sldId="9158"/>
            <ac:spMk id="5" creationId="{7A11812B-6518-45EF-B091-6F759823B94C}"/>
          </ac:spMkLst>
        </pc:spChg>
        <pc:spChg chg="mod ord">
          <ac:chgData name="Li, Huanxun (uia92758)" userId="81a1414a-be91-4d3f-9d67-dddc667dd025" providerId="ADAL" clId="{67ACF39E-05FD-489B-AF22-E6E09572EAA1}" dt="2021-07-26T12:08:44.585" v="649"/>
          <ac:spMkLst>
            <pc:docMk/>
            <pc:sldMk cId="1550834251" sldId="9158"/>
            <ac:spMk id="7" creationId="{D5BC24C4-7135-4051-88C5-F5A8C77AEE79}"/>
          </ac:spMkLst>
        </pc:spChg>
        <pc:spChg chg="mod ord">
          <ac:chgData name="Li, Huanxun (uia92758)" userId="81a1414a-be91-4d3f-9d67-dddc667dd025" providerId="ADAL" clId="{67ACF39E-05FD-489B-AF22-E6E09572EAA1}" dt="2021-07-26T12:08:44.585" v="651"/>
          <ac:spMkLst>
            <pc:docMk/>
            <pc:sldMk cId="1550834251" sldId="9158"/>
            <ac:spMk id="9" creationId="{2D122391-DF9B-431A-9D60-2F5922FA2450}"/>
          </ac:spMkLst>
        </pc:spChg>
        <pc:spChg chg="add del mod ord modVis">
          <ac:chgData name="Li, Huanxun (uia92758)" userId="81a1414a-be91-4d3f-9d67-dddc667dd025" providerId="ADAL" clId="{67ACF39E-05FD-489B-AF22-E6E09572EAA1}" dt="2021-07-26T10:03:08.481" v="631"/>
          <ac:spMkLst>
            <pc:docMk/>
            <pc:sldMk cId="1550834251" sldId="9158"/>
            <ac:spMk id="12" creationId="{66D6602D-10CE-4FCE-9BB0-134209EAFDE5}"/>
          </ac:spMkLst>
        </pc:spChg>
        <pc:graphicFrameChg chg="add mod ord modGraphic">
          <ac:chgData name="Li, Huanxun (uia92758)" userId="81a1414a-be91-4d3f-9d67-dddc667dd025" providerId="ADAL" clId="{67ACF39E-05FD-489B-AF22-E6E09572EAA1}" dt="2021-07-26T12:26:37.233" v="1983" actId="20577"/>
          <ac:graphicFrameMkLst>
            <pc:docMk/>
            <pc:sldMk cId="1550834251" sldId="9158"/>
            <ac:graphicFrameMk id="4" creationId="{455E8913-2CF3-49F4-9E03-07EA7EC2CA97}"/>
          </ac:graphicFrameMkLst>
        </pc:graphicFrameChg>
        <pc:graphicFrameChg chg="mod ord">
          <ac:chgData name="Li, Huanxun (uia92758)" userId="81a1414a-be91-4d3f-9d67-dddc667dd025" providerId="ADAL" clId="{67ACF39E-05FD-489B-AF22-E6E09572EAA1}" dt="2021-07-26T12:08:44.595" v="661"/>
          <ac:graphicFrameMkLst>
            <pc:docMk/>
            <pc:sldMk cId="1550834251" sldId="9158"/>
            <ac:graphicFrameMk id="22" creationId="{6463FF10-63C4-4C8A-99D4-C218E23160EF}"/>
          </ac:graphicFrameMkLst>
        </pc:graphicFrameChg>
        <pc:picChg chg="add del mod">
          <ac:chgData name="Li, Huanxun (uia92758)" userId="81a1414a-be91-4d3f-9d67-dddc667dd025" providerId="ADAL" clId="{67ACF39E-05FD-489B-AF22-E6E09572EAA1}" dt="2021-07-26T10:02:50.664" v="572" actId="478"/>
          <ac:picMkLst>
            <pc:docMk/>
            <pc:sldMk cId="1550834251" sldId="9158"/>
            <ac:picMk id="2" creationId="{3DA1AA6E-E8B7-47BF-834B-80CC57FDDB28}"/>
          </ac:picMkLst>
        </pc:picChg>
        <pc:picChg chg="add del mod ord">
          <ac:chgData name="Li, Huanxun (uia92758)" userId="81a1414a-be91-4d3f-9d67-dddc667dd025" providerId="ADAL" clId="{67ACF39E-05FD-489B-AF22-E6E09572EAA1}" dt="2021-07-26T12:33:45.455" v="1985" actId="478"/>
          <ac:picMkLst>
            <pc:docMk/>
            <pc:sldMk cId="1550834251" sldId="9158"/>
            <ac:picMk id="3" creationId="{F0221DAB-6791-4D82-9F94-4AD71D2E8452}"/>
          </ac:picMkLst>
        </pc:picChg>
        <pc:picChg chg="add del mod ord">
          <ac:chgData name="Li, Huanxun (uia92758)" userId="81a1414a-be91-4d3f-9d67-dddc667dd025" providerId="ADAL" clId="{67ACF39E-05FD-489B-AF22-E6E09572EAA1}" dt="2021-07-26T12:08:27.025" v="639" actId="478"/>
          <ac:picMkLst>
            <pc:docMk/>
            <pc:sldMk cId="1550834251" sldId="9158"/>
            <ac:picMk id="11" creationId="{A289E8A7-42AC-415D-9BBF-4C8A95AFC3AE}"/>
          </ac:picMkLst>
        </pc:picChg>
        <pc:picChg chg="add mod ord">
          <ac:chgData name="Li, Huanxun (uia92758)" userId="81a1414a-be91-4d3f-9d67-dddc667dd025" providerId="ADAL" clId="{67ACF39E-05FD-489B-AF22-E6E09572EAA1}" dt="2021-07-26T12:34:43.325" v="2004" actId="14100"/>
          <ac:picMkLst>
            <pc:docMk/>
            <pc:sldMk cId="1550834251" sldId="9158"/>
            <ac:picMk id="16" creationId="{6311FA98-1F2F-492C-BBE9-7477A4BC60D6}"/>
          </ac:picMkLst>
        </pc:picChg>
        <pc:picChg chg="add mod">
          <ac:chgData name="Li, Huanxun (uia92758)" userId="81a1414a-be91-4d3f-9d67-dddc667dd025" providerId="ADAL" clId="{67ACF39E-05FD-489B-AF22-E6E09572EAA1}" dt="2021-07-26T12:34:51.315" v="2008" actId="1076"/>
          <ac:picMkLst>
            <pc:docMk/>
            <pc:sldMk cId="1550834251" sldId="9158"/>
            <ac:picMk id="19" creationId="{52A50E40-38D4-42DE-87EF-04F345FD65C1}"/>
          </ac:picMkLst>
        </pc:picChg>
        <pc:picChg chg="add mod">
          <ac:chgData name="Li, Huanxun (uia92758)" userId="81a1414a-be91-4d3f-9d67-dddc667dd025" providerId="ADAL" clId="{67ACF39E-05FD-489B-AF22-E6E09572EAA1}" dt="2021-07-26T12:34:17.005" v="2000" actId="1076"/>
          <ac:picMkLst>
            <pc:docMk/>
            <pc:sldMk cId="1550834251" sldId="9158"/>
            <ac:picMk id="21" creationId="{5157C182-4771-45C5-A2C2-0B8D87A75988}"/>
          </ac:picMkLst>
        </pc:picChg>
        <pc:cxnChg chg="add mod ord">
          <ac:chgData name="Li, Huanxun (uia92758)" userId="81a1414a-be91-4d3f-9d67-dddc667dd025" providerId="ADAL" clId="{67ACF39E-05FD-489B-AF22-E6E09572EAA1}" dt="2021-07-26T12:34:45.923" v="2005" actId="14100"/>
          <ac:cxnSpMkLst>
            <pc:docMk/>
            <pc:sldMk cId="1550834251" sldId="9158"/>
            <ac:cxnSpMk id="8" creationId="{558BABFA-305B-4D2B-BDD7-0F110830BAE6}"/>
          </ac:cxnSpMkLst>
        </pc:cxnChg>
      </pc:sldChg>
    </pc:docChg>
  </pc:docChgLst>
  <pc:docChgLst>
    <pc:chgData name="Yu, Jiabo (uib46828)" userId="S::uib46828@contiwan.com::e94ed159-0ba9-4288-823b-24757ec9f38f" providerId="AD" clId="Web-{A4659CE5-D3B4-4A3E-B40F-A0A577F3DF4C}"/>
    <pc:docChg chg="modSld">
      <pc:chgData name="Yu, Jiabo (uib46828)" userId="S::uib46828@contiwan.com::e94ed159-0ba9-4288-823b-24757ec9f38f" providerId="AD" clId="Web-{A4659CE5-D3B4-4A3E-B40F-A0A577F3DF4C}" dt="2021-07-26T09:28:20.153" v="515" actId="20577"/>
      <pc:docMkLst>
        <pc:docMk/>
      </pc:docMkLst>
      <pc:sldChg chg="addSp modSp">
        <pc:chgData name="Yu, Jiabo (uib46828)" userId="S::uib46828@contiwan.com::e94ed159-0ba9-4288-823b-24757ec9f38f" providerId="AD" clId="Web-{A4659CE5-D3B4-4A3E-B40F-A0A577F3DF4C}" dt="2021-07-26T09:28:20.153" v="515" actId="20577"/>
        <pc:sldMkLst>
          <pc:docMk/>
          <pc:sldMk cId="2437610357" sldId="9159"/>
        </pc:sldMkLst>
        <pc:spChg chg="add mod">
          <ac:chgData name="Yu, Jiabo (uib46828)" userId="S::uib46828@contiwan.com::e94ed159-0ba9-4288-823b-24757ec9f38f" providerId="AD" clId="Web-{A4659CE5-D3B4-4A3E-B40F-A0A577F3DF4C}" dt="2021-07-26T09:28:20.153" v="515" actId="20577"/>
          <ac:spMkLst>
            <pc:docMk/>
            <pc:sldMk cId="2437610357" sldId="9159"/>
            <ac:spMk id="2" creationId="{E60209F4-07E4-4987-9BE5-0DC86413D54E}"/>
          </ac:spMkLst>
        </pc:spChg>
      </pc:sldChg>
      <pc:sldChg chg="addSp modSp">
        <pc:chgData name="Yu, Jiabo (uib46828)" userId="S::uib46828@contiwan.com::e94ed159-0ba9-4288-823b-24757ec9f38f" providerId="AD" clId="Web-{A4659CE5-D3B4-4A3E-B40F-A0A577F3DF4C}" dt="2021-07-26T09:27:29.167" v="513" actId="20577"/>
        <pc:sldMkLst>
          <pc:docMk/>
          <pc:sldMk cId="2457400190" sldId="9160"/>
        </pc:sldMkLst>
        <pc:spChg chg="add mod">
          <ac:chgData name="Yu, Jiabo (uib46828)" userId="S::uib46828@contiwan.com::e94ed159-0ba9-4288-823b-24757ec9f38f" providerId="AD" clId="Web-{A4659CE5-D3B4-4A3E-B40F-A0A577F3DF4C}" dt="2021-07-26T09:27:29.167" v="513" actId="20577"/>
          <ac:spMkLst>
            <pc:docMk/>
            <pc:sldMk cId="2457400190" sldId="9160"/>
            <ac:spMk id="2" creationId="{A3D6D03B-D7AE-42FB-A266-2463C10D678D}"/>
          </ac:spMkLst>
        </pc:spChg>
      </pc:sldChg>
      <pc:sldChg chg="addSp modSp">
        <pc:chgData name="Yu, Jiabo (uib46828)" userId="S::uib46828@contiwan.com::e94ed159-0ba9-4288-823b-24757ec9f38f" providerId="AD" clId="Web-{A4659CE5-D3B4-4A3E-B40F-A0A577F3DF4C}" dt="2021-07-26T09:27:08.916" v="492" actId="20577"/>
        <pc:sldMkLst>
          <pc:docMk/>
          <pc:sldMk cId="2583216560" sldId="9161"/>
        </pc:sldMkLst>
        <pc:spChg chg="add mod">
          <ac:chgData name="Yu, Jiabo (uib46828)" userId="S::uib46828@contiwan.com::e94ed159-0ba9-4288-823b-24757ec9f38f" providerId="AD" clId="Web-{A4659CE5-D3B4-4A3E-B40F-A0A577F3DF4C}" dt="2021-07-26T09:27:08.916" v="492" actId="20577"/>
          <ac:spMkLst>
            <pc:docMk/>
            <pc:sldMk cId="2583216560" sldId="9161"/>
            <ac:spMk id="2" creationId="{4C8FB788-D298-476D-BFE2-0A3959BF1C27}"/>
          </ac:spMkLst>
        </pc:spChg>
      </pc:sldChg>
    </pc:docChg>
  </pc:docChgLst>
  <pc:docChgLst>
    <pc:chgData name="Yan, Jianfeng (uidm7513)" userId="S::uidm7513@contiwan.com::839b7058-a334-4a47-b48c-10c67e575121" providerId="AD" clId="Web-{0EA19883-617B-418D-A177-FFC75331CE08}"/>
    <pc:docChg chg="modSld">
      <pc:chgData name="Yan, Jianfeng (uidm7513)" userId="S::uidm7513@contiwan.com::839b7058-a334-4a47-b48c-10c67e575121" providerId="AD" clId="Web-{0EA19883-617B-418D-A177-FFC75331CE08}" dt="2021-07-27T00:37:11.586" v="200"/>
      <pc:docMkLst>
        <pc:docMk/>
      </pc:docMkLst>
      <pc:sldChg chg="modSp">
        <pc:chgData name="Yan, Jianfeng (uidm7513)" userId="S::uidm7513@contiwan.com::839b7058-a334-4a47-b48c-10c67e575121" providerId="AD" clId="Web-{0EA19883-617B-418D-A177-FFC75331CE08}" dt="2021-07-27T00:37:11.586" v="200"/>
        <pc:sldMkLst>
          <pc:docMk/>
          <pc:sldMk cId="3353747574" sldId="9176"/>
        </pc:sldMkLst>
        <pc:graphicFrameChg chg="mod modGraphic">
          <ac:chgData name="Yan, Jianfeng (uidm7513)" userId="S::uidm7513@contiwan.com::839b7058-a334-4a47-b48c-10c67e575121" providerId="AD" clId="Web-{0EA19883-617B-418D-A177-FFC75331CE08}" dt="2021-07-27T00:37:11.586" v="200"/>
          <ac:graphicFrameMkLst>
            <pc:docMk/>
            <pc:sldMk cId="3353747574" sldId="9176"/>
            <ac:graphicFrameMk id="10" creationId="{618D1EEF-48F1-446E-843C-650199AAA05F}"/>
          </ac:graphicFrameMkLst>
        </pc:graphicFrameChg>
      </pc:sldChg>
    </pc:docChg>
  </pc:docChgLst>
  <pc:docChgLst>
    <pc:chgData name="Wang, David" userId="5ba1598c-ec07-46f3-a0aa-a1cc2acb9765" providerId="ADAL" clId="{14C079B1-3763-444B-B216-374EF69EE7DF}"/>
    <pc:docChg chg="undo custSel addSld delSld modSld">
      <pc:chgData name="Wang, David" userId="5ba1598c-ec07-46f3-a0aa-a1cc2acb9765" providerId="ADAL" clId="{14C079B1-3763-444B-B216-374EF69EE7DF}" dt="2021-07-26T14:47:15.239" v="100610"/>
      <pc:docMkLst>
        <pc:docMk/>
      </pc:docMkLst>
      <pc:sldChg chg="addSp delSp modSp mod">
        <pc:chgData name="Wang, David" userId="5ba1598c-ec07-46f3-a0aa-a1cc2acb9765" providerId="ADAL" clId="{14C079B1-3763-444B-B216-374EF69EE7DF}" dt="2021-07-26T14:19:19.372" v="83911" actId="20577"/>
        <pc:sldMkLst>
          <pc:docMk/>
          <pc:sldMk cId="3993071717" sldId="333"/>
        </pc:sldMkLst>
        <pc:spChg chg="mod">
          <ac:chgData name="Wang, David" userId="5ba1598c-ec07-46f3-a0aa-a1cc2acb9765" providerId="ADAL" clId="{14C079B1-3763-444B-B216-374EF69EE7DF}" dt="2021-07-26T14:11:10.994" v="83492" actId="948"/>
          <ac:spMkLst>
            <pc:docMk/>
            <pc:sldMk cId="3993071717" sldId="333"/>
            <ac:spMk id="5" creationId="{835409D4-AA07-437C-A1A7-C7743DBDCAA7}"/>
          </ac:spMkLst>
        </pc:spChg>
        <pc:spChg chg="add del mod modVis">
          <ac:chgData name="Wang, David" userId="5ba1598c-ec07-46f3-a0aa-a1cc2acb9765" providerId="ADAL" clId="{14C079B1-3763-444B-B216-374EF69EE7DF}" dt="2021-07-26T14:10:39.901" v="83403"/>
          <ac:spMkLst>
            <pc:docMk/>
            <pc:sldMk cId="3993071717" sldId="333"/>
            <ac:spMk id="6" creationId="{44DF69AE-A7F5-4739-A3C5-81AD9624180F}"/>
          </ac:spMkLst>
        </pc:spChg>
        <pc:spChg chg="add del mod modVis">
          <ac:chgData name="Wang, David" userId="5ba1598c-ec07-46f3-a0aa-a1cc2acb9765" providerId="ADAL" clId="{14C079B1-3763-444B-B216-374EF69EE7DF}" dt="2021-07-26T14:11:01.737" v="83446"/>
          <ac:spMkLst>
            <pc:docMk/>
            <pc:sldMk cId="3993071717" sldId="333"/>
            <ac:spMk id="9" creationId="{71BE1C0B-5A8D-46BE-B26A-6A7280B8FF58}"/>
          </ac:spMkLst>
        </pc:spChg>
        <pc:spChg chg="del">
          <ac:chgData name="Wang, David" userId="5ba1598c-ec07-46f3-a0aa-a1cc2acb9765" providerId="ADAL" clId="{14C079B1-3763-444B-B216-374EF69EE7DF}" dt="2021-07-26T14:09:49.953" v="83362" actId="478"/>
          <ac:spMkLst>
            <pc:docMk/>
            <pc:sldMk cId="3993071717" sldId="333"/>
            <ac:spMk id="10" creationId="{544DBDCC-3E99-4C7E-B300-6BEAB604BC70}"/>
          </ac:spMkLst>
        </pc:spChg>
        <pc:spChg chg="add del mod modVis">
          <ac:chgData name="Wang, David" userId="5ba1598c-ec07-46f3-a0aa-a1cc2acb9765" providerId="ADAL" clId="{14C079B1-3763-444B-B216-374EF69EE7DF}" dt="2021-07-26T14:11:07.425" v="83487"/>
          <ac:spMkLst>
            <pc:docMk/>
            <pc:sldMk cId="3993071717" sldId="333"/>
            <ac:spMk id="11" creationId="{CE784C55-1E7E-43E5-91B6-C4C766D355A9}"/>
          </ac:spMkLst>
        </pc:spChg>
        <pc:spChg chg="add del mod modVis">
          <ac:chgData name="Wang, David" userId="5ba1598c-ec07-46f3-a0aa-a1cc2acb9765" providerId="ADAL" clId="{14C079B1-3763-444B-B216-374EF69EE7DF}" dt="2021-07-26T14:11:11.141" v="83529"/>
          <ac:spMkLst>
            <pc:docMk/>
            <pc:sldMk cId="3993071717" sldId="333"/>
            <ac:spMk id="12" creationId="{9B080131-CEB6-46C6-99B3-0B3D5F1771CD}"/>
          </ac:spMkLst>
        </pc:spChg>
        <pc:spChg chg="add del mod">
          <ac:chgData name="Wang, David" userId="5ba1598c-ec07-46f3-a0aa-a1cc2acb9765" providerId="ADAL" clId="{14C079B1-3763-444B-B216-374EF69EE7DF}" dt="2021-07-26T14:12:04.095" v="83535"/>
          <ac:spMkLst>
            <pc:docMk/>
            <pc:sldMk cId="3993071717" sldId="333"/>
            <ac:spMk id="13" creationId="{E287B58C-2273-495B-852F-A96CA552200A}"/>
          </ac:spMkLst>
        </pc:spChg>
        <pc:spChg chg="add mod">
          <ac:chgData name="Wang, David" userId="5ba1598c-ec07-46f3-a0aa-a1cc2acb9765" providerId="ADAL" clId="{14C079B1-3763-444B-B216-374EF69EE7DF}" dt="2021-07-26T14:19:19.372" v="83911" actId="20577"/>
          <ac:spMkLst>
            <pc:docMk/>
            <pc:sldMk cId="3993071717" sldId="333"/>
            <ac:spMk id="15" creationId="{CE1FE0B2-CF11-4E3A-95CE-92903505EA7E}"/>
          </ac:spMkLst>
        </pc:spChg>
        <pc:graphicFrameChg chg="mod">
          <ac:chgData name="Wang, David" userId="5ba1598c-ec07-46f3-a0aa-a1cc2acb9765" providerId="ADAL" clId="{14C079B1-3763-444B-B216-374EF69EE7DF}" dt="2021-07-26T14:11:11.141" v="83531"/>
          <ac:graphicFrameMkLst>
            <pc:docMk/>
            <pc:sldMk cId="3993071717" sldId="333"/>
            <ac:graphicFrameMk id="3" creationId="{93436375-7500-43F9-A78E-4CC8A9DA380E}"/>
          </ac:graphicFrameMkLst>
        </pc:graphicFrameChg>
        <pc:graphicFrameChg chg="add del mod">
          <ac:chgData name="Wang, David" userId="5ba1598c-ec07-46f3-a0aa-a1cc2acb9765" providerId="ADAL" clId="{14C079B1-3763-444B-B216-374EF69EE7DF}" dt="2021-07-26T14:09:47.411" v="83361" actId="478"/>
          <ac:graphicFrameMkLst>
            <pc:docMk/>
            <pc:sldMk cId="3993071717" sldId="333"/>
            <ac:graphicFrameMk id="4" creationId="{F37F9020-3AD4-4E9C-A021-1DBBBE8D6970}"/>
          </ac:graphicFrameMkLst>
        </pc:graphicFrameChg>
        <pc:picChg chg="add del mod">
          <ac:chgData name="Wang, David" userId="5ba1598c-ec07-46f3-a0aa-a1cc2acb9765" providerId="ADAL" clId="{14C079B1-3763-444B-B216-374EF69EE7DF}" dt="2021-07-26T14:08:33.905" v="83359" actId="478"/>
          <ac:picMkLst>
            <pc:docMk/>
            <pc:sldMk cId="3993071717" sldId="333"/>
            <ac:picMk id="2" creationId="{1B887690-E4B6-4A06-AF56-34C6DAAC4A9D}"/>
          </ac:picMkLst>
        </pc:picChg>
        <pc:picChg chg="add del mod">
          <ac:chgData name="Wang, David" userId="5ba1598c-ec07-46f3-a0aa-a1cc2acb9765" providerId="ADAL" clId="{14C079B1-3763-444B-B216-374EF69EE7DF}" dt="2021-07-26T14:12:04.095" v="83533" actId="478"/>
          <ac:picMkLst>
            <pc:docMk/>
            <pc:sldMk cId="3993071717" sldId="333"/>
            <ac:picMk id="8" creationId="{F0A82E05-1DCE-4E79-ACB4-432DC2291FDE}"/>
          </ac:picMkLst>
        </pc:picChg>
        <pc:picChg chg="add mod">
          <ac:chgData name="Wang, David" userId="5ba1598c-ec07-46f3-a0aa-a1cc2acb9765" providerId="ADAL" clId="{14C079B1-3763-444B-B216-374EF69EE7DF}" dt="2021-07-26T14:15:08.229" v="83623" actId="1076"/>
          <ac:picMkLst>
            <pc:docMk/>
            <pc:sldMk cId="3993071717" sldId="333"/>
            <ac:picMk id="14" creationId="{1FE76038-D4E9-4E3F-93D7-D33BA7958939}"/>
          </ac:picMkLst>
        </pc:picChg>
        <pc:cxnChg chg="add del mod">
          <ac:chgData name="Wang, David" userId="5ba1598c-ec07-46f3-a0aa-a1cc2acb9765" providerId="ADAL" clId="{14C079B1-3763-444B-B216-374EF69EE7DF}" dt="2021-07-26T14:09:47.411" v="83361" actId="478"/>
          <ac:cxnSpMkLst>
            <pc:docMk/>
            <pc:sldMk cId="3993071717" sldId="333"/>
            <ac:cxnSpMk id="7" creationId="{FC8F3998-B675-400C-A53C-1F30ECE0190E}"/>
          </ac:cxnSpMkLst>
        </pc:cxnChg>
      </pc:sldChg>
      <pc:sldChg chg="addSp delSp modSp del mod">
        <pc:chgData name="Wang, David" userId="5ba1598c-ec07-46f3-a0aa-a1cc2acb9765" providerId="ADAL" clId="{14C079B1-3763-444B-B216-374EF69EE7DF}" dt="2021-07-26T08:50:02.054" v="23761" actId="2696"/>
        <pc:sldMkLst>
          <pc:docMk/>
          <pc:sldMk cId="1121314240" sldId="335"/>
        </pc:sldMkLst>
        <pc:spChg chg="add del mod modVis">
          <ac:chgData name="Wang, David" userId="5ba1598c-ec07-46f3-a0aa-a1cc2acb9765" providerId="ADAL" clId="{14C079B1-3763-444B-B216-374EF69EE7DF}" dt="2021-07-26T06:14:21.292" v="314"/>
          <ac:spMkLst>
            <pc:docMk/>
            <pc:sldMk cId="1121314240" sldId="335"/>
            <ac:spMk id="2" creationId="{258B1281-D5D8-4EA1-BB5B-B134F60898F7}"/>
          </ac:spMkLst>
        </pc:spChg>
        <pc:spChg chg="add del mod ord modVis">
          <ac:chgData name="Wang, David" userId="5ba1598c-ec07-46f3-a0aa-a1cc2acb9765" providerId="ADAL" clId="{14C079B1-3763-444B-B216-374EF69EE7DF}" dt="2021-07-26T06:17:06.668" v="2749"/>
          <ac:spMkLst>
            <pc:docMk/>
            <pc:sldMk cId="1121314240" sldId="335"/>
            <ac:spMk id="3" creationId="{A225C465-86BC-404E-9CD1-E05EA405FEFA}"/>
          </ac:spMkLst>
        </pc:spChg>
        <pc:spChg chg="add del mod ord">
          <ac:chgData name="Wang, David" userId="5ba1598c-ec07-46f3-a0aa-a1cc2acb9765" providerId="ADAL" clId="{14C079B1-3763-444B-B216-374EF69EE7DF}" dt="2021-07-26T06:19:31.989" v="4901"/>
          <ac:spMkLst>
            <pc:docMk/>
            <pc:sldMk cId="1121314240" sldId="335"/>
            <ac:spMk id="4" creationId="{BC9C3E77-C45D-461F-B738-EEC0E1157C78}"/>
          </ac:spMkLst>
        </pc:spChg>
        <pc:spChg chg="add del mod">
          <ac:chgData name="Wang, David" userId="5ba1598c-ec07-46f3-a0aa-a1cc2acb9765" providerId="ADAL" clId="{14C079B1-3763-444B-B216-374EF69EE7DF}" dt="2021-07-26T06:16:37.518" v="1226"/>
          <ac:spMkLst>
            <pc:docMk/>
            <pc:sldMk cId="1121314240" sldId="335"/>
            <ac:spMk id="5" creationId="{A8B338E9-0F45-4044-A8F3-C3E3DDF954D6}"/>
          </ac:spMkLst>
        </pc:spChg>
        <pc:spChg chg="mod ord">
          <ac:chgData name="Wang, David" userId="5ba1598c-ec07-46f3-a0aa-a1cc2acb9765" providerId="ADAL" clId="{14C079B1-3763-444B-B216-374EF69EE7DF}" dt="2021-07-26T08:47:54.191" v="22810"/>
          <ac:spMkLst>
            <pc:docMk/>
            <pc:sldMk cId="1121314240" sldId="335"/>
            <ac:spMk id="6" creationId="{2682C785-0F0B-4990-A3E3-15FAE96B25C8}"/>
          </ac:spMkLst>
        </pc:spChg>
        <pc:spChg chg="add del mod">
          <ac:chgData name="Wang, David" userId="5ba1598c-ec07-46f3-a0aa-a1cc2acb9765" providerId="ADAL" clId="{14C079B1-3763-444B-B216-374EF69EE7DF}" dt="2021-07-26T06:16:37.518" v="1225"/>
          <ac:spMkLst>
            <pc:docMk/>
            <pc:sldMk cId="1121314240" sldId="335"/>
            <ac:spMk id="7" creationId="{6865B8DB-763B-4383-B9B3-67B4975CEF94}"/>
          </ac:spMkLst>
        </pc:spChg>
        <pc:spChg chg="add del mod">
          <ac:chgData name="Wang, David" userId="5ba1598c-ec07-46f3-a0aa-a1cc2acb9765" providerId="ADAL" clId="{14C079B1-3763-444B-B216-374EF69EE7DF}" dt="2021-07-26T06:16:37.518" v="1237"/>
          <ac:spMkLst>
            <pc:docMk/>
            <pc:sldMk cId="1121314240" sldId="335"/>
            <ac:spMk id="8" creationId="{90E30CBC-0F08-4F1C-9E16-07FBFC1643B0}"/>
          </ac:spMkLst>
        </pc:spChg>
        <pc:spChg chg="add del mod">
          <ac:chgData name="Wang, David" userId="5ba1598c-ec07-46f3-a0aa-a1cc2acb9765" providerId="ADAL" clId="{14C079B1-3763-444B-B216-374EF69EE7DF}" dt="2021-07-26T06:16:37.518" v="1236"/>
          <ac:spMkLst>
            <pc:docMk/>
            <pc:sldMk cId="1121314240" sldId="335"/>
            <ac:spMk id="9" creationId="{12143142-FCDE-4DBD-B299-C41DE21EC372}"/>
          </ac:spMkLst>
        </pc:spChg>
        <pc:spChg chg="add del mod">
          <ac:chgData name="Wang, David" userId="5ba1598c-ec07-46f3-a0aa-a1cc2acb9765" providerId="ADAL" clId="{14C079B1-3763-444B-B216-374EF69EE7DF}" dt="2021-07-26T06:16:37.518" v="1235"/>
          <ac:spMkLst>
            <pc:docMk/>
            <pc:sldMk cId="1121314240" sldId="335"/>
            <ac:spMk id="10" creationId="{C5C9E355-A0DC-4F28-8333-581811DA0453}"/>
          </ac:spMkLst>
        </pc:spChg>
        <pc:spChg chg="add del mod">
          <ac:chgData name="Wang, David" userId="5ba1598c-ec07-46f3-a0aa-a1cc2acb9765" providerId="ADAL" clId="{14C079B1-3763-444B-B216-374EF69EE7DF}" dt="2021-07-26T06:16:37.518" v="1234"/>
          <ac:spMkLst>
            <pc:docMk/>
            <pc:sldMk cId="1121314240" sldId="335"/>
            <ac:spMk id="11" creationId="{82CF9EB7-D048-4AB7-8C07-A788F983E2C7}"/>
          </ac:spMkLst>
        </pc:spChg>
        <pc:spChg chg="add del mod">
          <ac:chgData name="Wang, David" userId="5ba1598c-ec07-46f3-a0aa-a1cc2acb9765" providerId="ADAL" clId="{14C079B1-3763-444B-B216-374EF69EE7DF}" dt="2021-07-26T06:16:37.518" v="1233"/>
          <ac:spMkLst>
            <pc:docMk/>
            <pc:sldMk cId="1121314240" sldId="335"/>
            <ac:spMk id="12" creationId="{B623C541-0DF9-46A0-9184-59D17D64C985}"/>
          </ac:spMkLst>
        </pc:spChg>
        <pc:spChg chg="add del mod">
          <ac:chgData name="Wang, David" userId="5ba1598c-ec07-46f3-a0aa-a1cc2acb9765" providerId="ADAL" clId="{14C079B1-3763-444B-B216-374EF69EE7DF}" dt="2021-07-26T06:16:37.518" v="1232"/>
          <ac:spMkLst>
            <pc:docMk/>
            <pc:sldMk cId="1121314240" sldId="335"/>
            <ac:spMk id="13" creationId="{58CE2F11-374B-44CD-BB2E-AECAE69000DD}"/>
          </ac:spMkLst>
        </pc:spChg>
        <pc:spChg chg="add del mod">
          <ac:chgData name="Wang, David" userId="5ba1598c-ec07-46f3-a0aa-a1cc2acb9765" providerId="ADAL" clId="{14C079B1-3763-444B-B216-374EF69EE7DF}" dt="2021-07-26T06:16:37.518" v="1231"/>
          <ac:spMkLst>
            <pc:docMk/>
            <pc:sldMk cId="1121314240" sldId="335"/>
            <ac:spMk id="14" creationId="{C9EA8CD9-4E75-402E-B617-761B20384399}"/>
          </ac:spMkLst>
        </pc:spChg>
        <pc:spChg chg="add del mod">
          <ac:chgData name="Wang, David" userId="5ba1598c-ec07-46f3-a0aa-a1cc2acb9765" providerId="ADAL" clId="{14C079B1-3763-444B-B216-374EF69EE7DF}" dt="2021-07-26T06:16:37.518" v="1230"/>
          <ac:spMkLst>
            <pc:docMk/>
            <pc:sldMk cId="1121314240" sldId="335"/>
            <ac:spMk id="15" creationId="{364F1EE6-C223-46A4-B41F-71497B323B69}"/>
          </ac:spMkLst>
        </pc:spChg>
        <pc:spChg chg="add del mod">
          <ac:chgData name="Wang, David" userId="5ba1598c-ec07-46f3-a0aa-a1cc2acb9765" providerId="ADAL" clId="{14C079B1-3763-444B-B216-374EF69EE7DF}" dt="2021-07-26T06:16:37.518" v="1229"/>
          <ac:spMkLst>
            <pc:docMk/>
            <pc:sldMk cId="1121314240" sldId="335"/>
            <ac:spMk id="16" creationId="{A2686CF1-1777-4E23-8A7D-5630F0CB7D95}"/>
          </ac:spMkLst>
        </pc:spChg>
        <pc:spChg chg="add del mod">
          <ac:chgData name="Wang, David" userId="5ba1598c-ec07-46f3-a0aa-a1cc2acb9765" providerId="ADAL" clId="{14C079B1-3763-444B-B216-374EF69EE7DF}" dt="2021-07-26T06:16:37.518" v="1228"/>
          <ac:spMkLst>
            <pc:docMk/>
            <pc:sldMk cId="1121314240" sldId="335"/>
            <ac:spMk id="17" creationId="{9D1B837C-BB08-48FE-9B20-BC9CB28E029F}"/>
          </ac:spMkLst>
        </pc:spChg>
        <pc:spChg chg="add del mod">
          <ac:chgData name="Wang, David" userId="5ba1598c-ec07-46f3-a0aa-a1cc2acb9765" providerId="ADAL" clId="{14C079B1-3763-444B-B216-374EF69EE7DF}" dt="2021-07-26T06:16:37.518" v="1227"/>
          <ac:spMkLst>
            <pc:docMk/>
            <pc:sldMk cId="1121314240" sldId="335"/>
            <ac:spMk id="18" creationId="{9BB0D079-E5B2-4AF0-B2E8-D93E33DF01C4}"/>
          </ac:spMkLst>
        </pc:spChg>
        <pc:spChg chg="add del mod">
          <ac:chgData name="Wang, David" userId="5ba1598c-ec07-46f3-a0aa-a1cc2acb9765" providerId="ADAL" clId="{14C079B1-3763-444B-B216-374EF69EE7DF}" dt="2021-07-26T06:16:37.456" v="1178"/>
          <ac:spMkLst>
            <pc:docMk/>
            <pc:sldMk cId="1121314240" sldId="335"/>
            <ac:spMk id="37" creationId="{82AEB00B-B3E8-4DB7-B044-13BCEB0140F2}"/>
          </ac:spMkLst>
        </pc:spChg>
        <pc:spChg chg="add del mod">
          <ac:chgData name="Wang, David" userId="5ba1598c-ec07-46f3-a0aa-a1cc2acb9765" providerId="ADAL" clId="{14C079B1-3763-444B-B216-374EF69EE7DF}" dt="2021-07-26T06:16:37.487" v="1208"/>
          <ac:spMkLst>
            <pc:docMk/>
            <pc:sldMk cId="1121314240" sldId="335"/>
            <ac:spMk id="38" creationId="{ED612A06-964A-4ADD-BBF5-01F508E84224}"/>
          </ac:spMkLst>
        </pc:spChg>
        <pc:spChg chg="add del mod">
          <ac:chgData name="Wang, David" userId="5ba1598c-ec07-46f3-a0aa-a1cc2acb9765" providerId="ADAL" clId="{14C079B1-3763-444B-B216-374EF69EE7DF}" dt="2021-07-26T06:16:37.456" v="1180"/>
          <ac:spMkLst>
            <pc:docMk/>
            <pc:sldMk cId="1121314240" sldId="335"/>
            <ac:spMk id="39" creationId="{A44F01BC-19E9-46AA-B014-945FB8EAC3EB}"/>
          </ac:spMkLst>
        </pc:spChg>
        <pc:spChg chg="add del mod">
          <ac:chgData name="Wang, David" userId="5ba1598c-ec07-46f3-a0aa-a1cc2acb9765" providerId="ADAL" clId="{14C079B1-3763-444B-B216-374EF69EE7DF}" dt="2021-07-26T06:16:37.487" v="1210"/>
          <ac:spMkLst>
            <pc:docMk/>
            <pc:sldMk cId="1121314240" sldId="335"/>
            <ac:spMk id="40" creationId="{CE7429A1-D4B3-46D0-A976-206BF607C980}"/>
          </ac:spMkLst>
        </pc:spChg>
        <pc:spChg chg="add del mod">
          <ac:chgData name="Wang, David" userId="5ba1598c-ec07-46f3-a0aa-a1cc2acb9765" providerId="ADAL" clId="{14C079B1-3763-444B-B216-374EF69EE7DF}" dt="2021-07-26T06:16:37.503" v="1212"/>
          <ac:spMkLst>
            <pc:docMk/>
            <pc:sldMk cId="1121314240" sldId="335"/>
            <ac:spMk id="41" creationId="{ADEF6864-4AEE-4D66-836A-B4E1B472F074}"/>
          </ac:spMkLst>
        </pc:spChg>
        <pc:spChg chg="add del mod">
          <ac:chgData name="Wang, David" userId="5ba1598c-ec07-46f3-a0aa-a1cc2acb9765" providerId="ADAL" clId="{14C079B1-3763-444B-B216-374EF69EE7DF}" dt="2021-07-26T06:16:37.456" v="1182"/>
          <ac:spMkLst>
            <pc:docMk/>
            <pc:sldMk cId="1121314240" sldId="335"/>
            <ac:spMk id="42" creationId="{EAC965BC-B895-4D2B-A037-571821150796}"/>
          </ac:spMkLst>
        </pc:spChg>
        <pc:spChg chg="add del mod">
          <ac:chgData name="Wang, David" userId="5ba1598c-ec07-46f3-a0aa-a1cc2acb9765" providerId="ADAL" clId="{14C079B1-3763-444B-B216-374EF69EE7DF}" dt="2021-07-26T06:16:37.503" v="1214"/>
          <ac:spMkLst>
            <pc:docMk/>
            <pc:sldMk cId="1121314240" sldId="335"/>
            <ac:spMk id="43" creationId="{4D40A365-5648-4F5A-AFC1-B8E1B2619D4C}"/>
          </ac:spMkLst>
        </pc:spChg>
        <pc:spChg chg="add del mod">
          <ac:chgData name="Wang, David" userId="5ba1598c-ec07-46f3-a0aa-a1cc2acb9765" providerId="ADAL" clId="{14C079B1-3763-444B-B216-374EF69EE7DF}" dt="2021-07-26T06:16:37.456" v="1184"/>
          <ac:spMkLst>
            <pc:docMk/>
            <pc:sldMk cId="1121314240" sldId="335"/>
            <ac:spMk id="44" creationId="{813451BA-AFFB-498F-9324-2E3E48AE988A}"/>
          </ac:spMkLst>
        </pc:spChg>
        <pc:spChg chg="add del mod">
          <ac:chgData name="Wang, David" userId="5ba1598c-ec07-46f3-a0aa-a1cc2acb9765" providerId="ADAL" clId="{14C079B1-3763-444B-B216-374EF69EE7DF}" dt="2021-07-26T06:16:37.503" v="1216"/>
          <ac:spMkLst>
            <pc:docMk/>
            <pc:sldMk cId="1121314240" sldId="335"/>
            <ac:spMk id="45" creationId="{BD11105C-0C4D-4F8A-BDBD-F0E1EAF7A96D}"/>
          </ac:spMkLst>
        </pc:spChg>
        <pc:spChg chg="add del mod">
          <ac:chgData name="Wang, David" userId="5ba1598c-ec07-46f3-a0aa-a1cc2acb9765" providerId="ADAL" clId="{14C079B1-3763-444B-B216-374EF69EE7DF}" dt="2021-07-26T06:16:37.456" v="1186"/>
          <ac:spMkLst>
            <pc:docMk/>
            <pc:sldMk cId="1121314240" sldId="335"/>
            <ac:spMk id="46" creationId="{873396F7-FA3B-4AC1-9126-18A8102F170C}"/>
          </ac:spMkLst>
        </pc:spChg>
        <pc:spChg chg="add del mod">
          <ac:chgData name="Wang, David" userId="5ba1598c-ec07-46f3-a0aa-a1cc2acb9765" providerId="ADAL" clId="{14C079B1-3763-444B-B216-374EF69EE7DF}" dt="2021-07-26T06:16:37.471" v="1191"/>
          <ac:spMkLst>
            <pc:docMk/>
            <pc:sldMk cId="1121314240" sldId="335"/>
            <ac:spMk id="47" creationId="{638887D3-077D-4EDC-A618-E9710A57D9C4}"/>
          </ac:spMkLst>
        </pc:spChg>
        <pc:spChg chg="add del mod">
          <ac:chgData name="Wang, David" userId="5ba1598c-ec07-46f3-a0aa-a1cc2acb9765" providerId="ADAL" clId="{14C079B1-3763-444B-B216-374EF69EE7DF}" dt="2021-07-26T06:16:37.418" v="1161"/>
          <ac:spMkLst>
            <pc:docMk/>
            <pc:sldMk cId="1121314240" sldId="335"/>
            <ac:spMk id="48" creationId="{289E4239-ABB9-4460-A82A-F0835E5B7688}"/>
          </ac:spMkLst>
        </pc:spChg>
        <pc:spChg chg="add del mod">
          <ac:chgData name="Wang, David" userId="5ba1598c-ec07-46f3-a0aa-a1cc2acb9765" providerId="ADAL" clId="{14C079B1-3763-444B-B216-374EF69EE7DF}" dt="2021-07-26T06:16:37.471" v="1195"/>
          <ac:spMkLst>
            <pc:docMk/>
            <pc:sldMk cId="1121314240" sldId="335"/>
            <ac:spMk id="49" creationId="{9567025B-DE3F-46F4-BE43-B4860D1E624F}"/>
          </ac:spMkLst>
        </pc:spChg>
        <pc:spChg chg="add del mod">
          <ac:chgData name="Wang, David" userId="5ba1598c-ec07-46f3-a0aa-a1cc2acb9765" providerId="ADAL" clId="{14C079B1-3763-444B-B216-374EF69EE7DF}" dt="2021-07-26T06:16:37.434" v="1165"/>
          <ac:spMkLst>
            <pc:docMk/>
            <pc:sldMk cId="1121314240" sldId="335"/>
            <ac:spMk id="50" creationId="{BCFE4A1A-2EE3-4A82-9163-40AAC21C82B2}"/>
          </ac:spMkLst>
        </pc:spChg>
        <pc:spChg chg="add del mod">
          <ac:chgData name="Wang, David" userId="5ba1598c-ec07-46f3-a0aa-a1cc2acb9765" providerId="ADAL" clId="{14C079B1-3763-444B-B216-374EF69EE7DF}" dt="2021-07-26T06:16:37.434" v="1169"/>
          <ac:spMkLst>
            <pc:docMk/>
            <pc:sldMk cId="1121314240" sldId="335"/>
            <ac:spMk id="51" creationId="{AF0EAEE9-45F6-49C6-82C9-F4B2E2D95430}"/>
          </ac:spMkLst>
        </pc:spChg>
        <pc:spChg chg="add del mod">
          <ac:chgData name="Wang, David" userId="5ba1598c-ec07-46f3-a0aa-a1cc2acb9765" providerId="ADAL" clId="{14C079B1-3763-444B-B216-374EF69EE7DF}" dt="2021-07-26T06:16:37.471" v="1199"/>
          <ac:spMkLst>
            <pc:docMk/>
            <pc:sldMk cId="1121314240" sldId="335"/>
            <ac:spMk id="52" creationId="{24BC819C-C557-46CC-AA10-71F8EB34AF2D}"/>
          </ac:spMkLst>
        </pc:spChg>
        <pc:spChg chg="add del mod">
          <ac:chgData name="Wang, David" userId="5ba1598c-ec07-46f3-a0aa-a1cc2acb9765" providerId="ADAL" clId="{14C079B1-3763-444B-B216-374EF69EE7DF}" dt="2021-07-26T06:16:37.449" v="1173"/>
          <ac:spMkLst>
            <pc:docMk/>
            <pc:sldMk cId="1121314240" sldId="335"/>
            <ac:spMk id="53" creationId="{7A367A6C-4DD7-4EBD-9116-BF8CD18DDB21}"/>
          </ac:spMkLst>
        </pc:spChg>
        <pc:spChg chg="add del mod">
          <ac:chgData name="Wang, David" userId="5ba1598c-ec07-46f3-a0aa-a1cc2acb9765" providerId="ADAL" clId="{14C079B1-3763-444B-B216-374EF69EE7DF}" dt="2021-07-26T06:16:37.487" v="1203"/>
          <ac:spMkLst>
            <pc:docMk/>
            <pc:sldMk cId="1121314240" sldId="335"/>
            <ac:spMk id="54" creationId="{70A65629-3170-442E-AE16-D80B14CB9387}"/>
          </ac:spMkLst>
        </pc:spChg>
        <pc:spChg chg="add del mod">
          <ac:chgData name="Wang, David" userId="5ba1598c-ec07-46f3-a0aa-a1cc2acb9765" providerId="ADAL" clId="{14C079B1-3763-444B-B216-374EF69EE7DF}" dt="2021-07-26T06:16:37.503" v="1221"/>
          <ac:spMkLst>
            <pc:docMk/>
            <pc:sldMk cId="1121314240" sldId="335"/>
            <ac:spMk id="55" creationId="{28D0E5E0-460C-43C9-97F5-88E2F37466F6}"/>
          </ac:spMkLst>
        </pc:spChg>
        <pc:spChg chg="add del mod">
          <ac:chgData name="Wang, David" userId="5ba1598c-ec07-46f3-a0aa-a1cc2acb9765" providerId="ADAL" clId="{14C079B1-3763-444B-B216-374EF69EE7DF}" dt="2021-07-26T06:16:37.471" v="1197"/>
          <ac:spMkLst>
            <pc:docMk/>
            <pc:sldMk cId="1121314240" sldId="335"/>
            <ac:spMk id="56" creationId="{C56E8AB4-2E03-4C24-A6A1-2D5BB486088A}"/>
          </ac:spMkLst>
        </pc:spChg>
        <pc:spChg chg="add del mod">
          <ac:chgData name="Wang, David" userId="5ba1598c-ec07-46f3-a0aa-a1cc2acb9765" providerId="ADAL" clId="{14C079B1-3763-444B-B216-374EF69EE7DF}" dt="2021-07-26T06:16:37.471" v="1193"/>
          <ac:spMkLst>
            <pc:docMk/>
            <pc:sldMk cId="1121314240" sldId="335"/>
            <ac:spMk id="57" creationId="{A3BC5D69-650F-413F-8511-AE35FBDA48C6}"/>
          </ac:spMkLst>
        </pc:spChg>
        <pc:spChg chg="add del mod">
          <ac:chgData name="Wang, David" userId="5ba1598c-ec07-46f3-a0aa-a1cc2acb9765" providerId="ADAL" clId="{14C079B1-3763-444B-B216-374EF69EE7DF}" dt="2021-07-26T06:16:37.503" v="1223"/>
          <ac:spMkLst>
            <pc:docMk/>
            <pc:sldMk cId="1121314240" sldId="335"/>
            <ac:spMk id="58" creationId="{C03FA153-9C5F-45E3-9D39-7D39385C14F7}"/>
          </ac:spMkLst>
        </pc:spChg>
        <pc:spChg chg="add del mod">
          <ac:chgData name="Wang, David" userId="5ba1598c-ec07-46f3-a0aa-a1cc2acb9765" providerId="ADAL" clId="{14C079B1-3763-444B-B216-374EF69EE7DF}" dt="2021-07-26T06:16:37.456" v="1187"/>
          <ac:spMkLst>
            <pc:docMk/>
            <pc:sldMk cId="1121314240" sldId="335"/>
            <ac:spMk id="59" creationId="{15062E67-27E2-445D-9E46-27634FD5523E}"/>
          </ac:spMkLst>
        </pc:spChg>
        <pc:spChg chg="add del mod">
          <ac:chgData name="Wang, David" userId="5ba1598c-ec07-46f3-a0aa-a1cc2acb9765" providerId="ADAL" clId="{14C079B1-3763-444B-B216-374EF69EE7DF}" dt="2021-07-26T06:16:37.487" v="1206"/>
          <ac:spMkLst>
            <pc:docMk/>
            <pc:sldMk cId="1121314240" sldId="335"/>
            <ac:spMk id="60" creationId="{F36B4876-4EE2-405A-8829-0EE67758C24B}"/>
          </ac:spMkLst>
        </pc:spChg>
        <pc:spChg chg="add del mod">
          <ac:chgData name="Wang, David" userId="5ba1598c-ec07-46f3-a0aa-a1cc2acb9765" providerId="ADAL" clId="{14C079B1-3763-444B-B216-374EF69EE7DF}" dt="2021-07-26T06:16:37.434" v="1163"/>
          <ac:spMkLst>
            <pc:docMk/>
            <pc:sldMk cId="1121314240" sldId="335"/>
            <ac:spMk id="61" creationId="{0D195F94-BB4A-46A0-8197-7B98A05C1BC4}"/>
          </ac:spMkLst>
        </pc:spChg>
        <pc:spChg chg="add del mod">
          <ac:chgData name="Wang, David" userId="5ba1598c-ec07-46f3-a0aa-a1cc2acb9765" providerId="ADAL" clId="{14C079B1-3763-444B-B216-374EF69EE7DF}" dt="2021-07-26T06:16:37.449" v="1175"/>
          <ac:spMkLst>
            <pc:docMk/>
            <pc:sldMk cId="1121314240" sldId="335"/>
            <ac:spMk id="62" creationId="{BDBF99B1-AD55-4D95-8C46-9093F05DB8D9}"/>
          </ac:spMkLst>
        </pc:spChg>
        <pc:spChg chg="add del mod">
          <ac:chgData name="Wang, David" userId="5ba1598c-ec07-46f3-a0aa-a1cc2acb9765" providerId="ADAL" clId="{14C079B1-3763-444B-B216-374EF69EE7DF}" dt="2021-07-26T06:16:37.434" v="1167"/>
          <ac:spMkLst>
            <pc:docMk/>
            <pc:sldMk cId="1121314240" sldId="335"/>
            <ac:spMk id="63" creationId="{0D331BF3-EC95-4D85-B08D-C0357121785B}"/>
          </ac:spMkLst>
        </pc:spChg>
        <pc:spChg chg="add del mod">
          <ac:chgData name="Wang, David" userId="5ba1598c-ec07-46f3-a0aa-a1cc2acb9765" providerId="ADAL" clId="{14C079B1-3763-444B-B216-374EF69EE7DF}" dt="2021-07-26T06:16:37.449" v="1176"/>
          <ac:spMkLst>
            <pc:docMk/>
            <pc:sldMk cId="1121314240" sldId="335"/>
            <ac:spMk id="64" creationId="{D41F74E0-B0CA-46C6-B0E8-E462EF6DCC96}"/>
          </ac:spMkLst>
        </pc:spChg>
        <pc:spChg chg="add del mod">
          <ac:chgData name="Wang, David" userId="5ba1598c-ec07-46f3-a0aa-a1cc2acb9765" providerId="ADAL" clId="{14C079B1-3763-444B-B216-374EF69EE7DF}" dt="2021-07-26T06:16:37.434" v="1171"/>
          <ac:spMkLst>
            <pc:docMk/>
            <pc:sldMk cId="1121314240" sldId="335"/>
            <ac:spMk id="65" creationId="{4FA3460C-B441-4D0F-AF26-1DF54C370637}"/>
          </ac:spMkLst>
        </pc:spChg>
        <pc:spChg chg="add del mod">
          <ac:chgData name="Wang, David" userId="5ba1598c-ec07-46f3-a0aa-a1cc2acb9765" providerId="ADAL" clId="{14C079B1-3763-444B-B216-374EF69EE7DF}" dt="2021-07-26T06:16:37.503" v="1217"/>
          <ac:spMkLst>
            <pc:docMk/>
            <pc:sldMk cId="1121314240" sldId="335"/>
            <ac:spMk id="66" creationId="{9BECF838-8B4B-4F0F-912E-7AEB36B7CE2A}"/>
          </ac:spMkLst>
        </pc:spChg>
        <pc:spChg chg="add del mod">
          <ac:chgData name="Wang, David" userId="5ba1598c-ec07-46f3-a0aa-a1cc2acb9765" providerId="ADAL" clId="{14C079B1-3763-444B-B216-374EF69EE7DF}" dt="2021-07-26T06:16:37.487" v="1205"/>
          <ac:spMkLst>
            <pc:docMk/>
            <pc:sldMk cId="1121314240" sldId="335"/>
            <ac:spMk id="67" creationId="{AD9A08B4-DD5F-4AF1-80B7-5EF0CE08DAE0}"/>
          </ac:spMkLst>
        </pc:spChg>
        <pc:spChg chg="add del mod">
          <ac:chgData name="Wang, David" userId="5ba1598c-ec07-46f3-a0aa-a1cc2acb9765" providerId="ADAL" clId="{14C079B1-3763-444B-B216-374EF69EE7DF}" dt="2021-07-26T06:16:37.487" v="1201"/>
          <ac:spMkLst>
            <pc:docMk/>
            <pc:sldMk cId="1121314240" sldId="335"/>
            <ac:spMk id="68" creationId="{B0819790-EA36-4DA2-841C-BB2E590E6BE1}"/>
          </ac:spMkLst>
        </pc:spChg>
        <pc:spChg chg="add del mod">
          <ac:chgData name="Wang, David" userId="5ba1598c-ec07-46f3-a0aa-a1cc2acb9765" providerId="ADAL" clId="{14C079B1-3763-444B-B216-374EF69EE7DF}" dt="2021-07-26T06:16:37.503" v="1224"/>
          <ac:spMkLst>
            <pc:docMk/>
            <pc:sldMk cId="1121314240" sldId="335"/>
            <ac:spMk id="69" creationId="{AEE7E52C-0D50-44B0-BAB6-9DF6F149C76A}"/>
          </ac:spMkLst>
        </pc:spChg>
        <pc:spChg chg="add del mod">
          <ac:chgData name="Wang, David" userId="5ba1598c-ec07-46f3-a0aa-a1cc2acb9765" providerId="ADAL" clId="{14C079B1-3763-444B-B216-374EF69EE7DF}" dt="2021-07-26T06:19:31.973" v="4897"/>
          <ac:spMkLst>
            <pc:docMk/>
            <pc:sldMk cId="1121314240" sldId="335"/>
            <ac:spMk id="70" creationId="{8B83580D-0270-4F33-BC80-7E44612B02ED}"/>
          </ac:spMkLst>
        </pc:spChg>
        <pc:spChg chg="add del mod">
          <ac:chgData name="Wang, David" userId="5ba1598c-ec07-46f3-a0aa-a1cc2acb9765" providerId="ADAL" clId="{14C079B1-3763-444B-B216-374EF69EE7DF}" dt="2021-07-26T06:19:31.973" v="4892"/>
          <ac:spMkLst>
            <pc:docMk/>
            <pc:sldMk cId="1121314240" sldId="335"/>
            <ac:spMk id="71" creationId="{DB7D581C-213D-4438-8905-7D23E80D9488}"/>
          </ac:spMkLst>
        </pc:spChg>
        <pc:spChg chg="add del mod">
          <ac:chgData name="Wang, David" userId="5ba1598c-ec07-46f3-a0aa-a1cc2acb9765" providerId="ADAL" clId="{14C079B1-3763-444B-B216-374EF69EE7DF}" dt="2021-07-26T06:19:31.973" v="4889"/>
          <ac:spMkLst>
            <pc:docMk/>
            <pc:sldMk cId="1121314240" sldId="335"/>
            <ac:spMk id="72" creationId="{072CAF1E-6CBC-43C2-B855-9749FE6D29DF}"/>
          </ac:spMkLst>
        </pc:spChg>
        <pc:spChg chg="add del mod">
          <ac:chgData name="Wang, David" userId="5ba1598c-ec07-46f3-a0aa-a1cc2acb9765" providerId="ADAL" clId="{14C079B1-3763-444B-B216-374EF69EE7DF}" dt="2021-07-26T06:19:31.973" v="4888"/>
          <ac:spMkLst>
            <pc:docMk/>
            <pc:sldMk cId="1121314240" sldId="335"/>
            <ac:spMk id="73" creationId="{0BF58DB3-2E8B-4EB4-A8FF-570EEE3733F3}"/>
          </ac:spMkLst>
        </pc:spChg>
        <pc:spChg chg="add del mod">
          <ac:chgData name="Wang, David" userId="5ba1598c-ec07-46f3-a0aa-a1cc2acb9765" providerId="ADAL" clId="{14C079B1-3763-444B-B216-374EF69EE7DF}" dt="2021-07-26T06:19:31.973" v="4885"/>
          <ac:spMkLst>
            <pc:docMk/>
            <pc:sldMk cId="1121314240" sldId="335"/>
            <ac:spMk id="74" creationId="{9988E88C-3893-4143-9D2B-2B65793DC481}"/>
          </ac:spMkLst>
        </pc:spChg>
        <pc:spChg chg="add del mod">
          <ac:chgData name="Wang, David" userId="5ba1598c-ec07-46f3-a0aa-a1cc2acb9765" providerId="ADAL" clId="{14C079B1-3763-444B-B216-374EF69EE7DF}" dt="2021-07-26T06:19:31.973" v="4884"/>
          <ac:spMkLst>
            <pc:docMk/>
            <pc:sldMk cId="1121314240" sldId="335"/>
            <ac:spMk id="75" creationId="{A47D712D-A055-47C9-849E-062CA95A1D4A}"/>
          </ac:spMkLst>
        </pc:spChg>
        <pc:spChg chg="add del mod">
          <ac:chgData name="Wang, David" userId="5ba1598c-ec07-46f3-a0aa-a1cc2acb9765" providerId="ADAL" clId="{14C079B1-3763-444B-B216-374EF69EE7DF}" dt="2021-07-26T06:19:31.989" v="4904"/>
          <ac:spMkLst>
            <pc:docMk/>
            <pc:sldMk cId="1121314240" sldId="335"/>
            <ac:spMk id="76" creationId="{A6954F57-C33A-4C8E-BE6E-2662B0857893}"/>
          </ac:spMkLst>
        </pc:spChg>
        <pc:spChg chg="add del mod">
          <ac:chgData name="Wang, David" userId="5ba1598c-ec07-46f3-a0aa-a1cc2acb9765" providerId="ADAL" clId="{14C079B1-3763-444B-B216-374EF69EE7DF}" dt="2021-07-26T06:17:06.118" v="2460"/>
          <ac:spMkLst>
            <pc:docMk/>
            <pc:sldMk cId="1121314240" sldId="335"/>
            <ac:spMk id="77" creationId="{99CEB396-CA00-4792-A691-D57877D48BD8}"/>
          </ac:spMkLst>
        </pc:spChg>
        <pc:spChg chg="add del mod">
          <ac:chgData name="Wang, David" userId="5ba1598c-ec07-46f3-a0aa-a1cc2acb9765" providerId="ADAL" clId="{14C079B1-3763-444B-B216-374EF69EE7DF}" dt="2021-07-26T06:17:06.118" v="2461"/>
          <ac:spMkLst>
            <pc:docMk/>
            <pc:sldMk cId="1121314240" sldId="335"/>
            <ac:spMk id="78" creationId="{64BB4E77-40E0-4945-8A13-88C378E9055D}"/>
          </ac:spMkLst>
        </pc:spChg>
        <pc:spChg chg="mod ord">
          <ac:chgData name="Wang, David" userId="5ba1598c-ec07-46f3-a0aa-a1cc2acb9765" providerId="ADAL" clId="{14C079B1-3763-444B-B216-374EF69EE7DF}" dt="2021-07-26T08:49:51.650" v="23393" actId="948"/>
          <ac:spMkLst>
            <pc:docMk/>
            <pc:sldMk cId="1121314240" sldId="335"/>
            <ac:spMk id="79" creationId="{AB06C1EB-172F-4D44-8F66-212D75F4F074}"/>
          </ac:spMkLst>
        </pc:spChg>
        <pc:spChg chg="add del mod">
          <ac:chgData name="Wang, David" userId="5ba1598c-ec07-46f3-a0aa-a1cc2acb9765" providerId="ADAL" clId="{14C079B1-3763-444B-B216-374EF69EE7DF}" dt="2021-07-26T06:18:16.852" v="3837"/>
          <ac:spMkLst>
            <pc:docMk/>
            <pc:sldMk cId="1121314240" sldId="335"/>
            <ac:spMk id="80" creationId="{D1729E4E-CE88-47C3-A525-4553AEEAD08D}"/>
          </ac:spMkLst>
        </pc:spChg>
        <pc:spChg chg="add del mod">
          <ac:chgData name="Wang, David" userId="5ba1598c-ec07-46f3-a0aa-a1cc2acb9765" providerId="ADAL" clId="{14C079B1-3763-444B-B216-374EF69EE7DF}" dt="2021-07-26T06:18:16.852" v="3836"/>
          <ac:spMkLst>
            <pc:docMk/>
            <pc:sldMk cId="1121314240" sldId="335"/>
            <ac:spMk id="81" creationId="{5D228C57-BA17-4D61-9A44-BB05307B01DD}"/>
          </ac:spMkLst>
        </pc:spChg>
        <pc:spChg chg="add del mod">
          <ac:chgData name="Wang, David" userId="5ba1598c-ec07-46f3-a0aa-a1cc2acb9765" providerId="ADAL" clId="{14C079B1-3763-444B-B216-374EF69EE7DF}" dt="2021-07-26T06:18:16.852" v="3835"/>
          <ac:spMkLst>
            <pc:docMk/>
            <pc:sldMk cId="1121314240" sldId="335"/>
            <ac:spMk id="82" creationId="{1166D805-A5D2-4F51-9083-D803048FA334}"/>
          </ac:spMkLst>
        </pc:spChg>
        <pc:spChg chg="add del mod">
          <ac:chgData name="Wang, David" userId="5ba1598c-ec07-46f3-a0aa-a1cc2acb9765" providerId="ADAL" clId="{14C079B1-3763-444B-B216-374EF69EE7DF}" dt="2021-07-26T06:18:16.852" v="3834"/>
          <ac:spMkLst>
            <pc:docMk/>
            <pc:sldMk cId="1121314240" sldId="335"/>
            <ac:spMk id="83" creationId="{B66B9D27-156C-488D-9D9B-4642D2085085}"/>
          </ac:spMkLst>
        </pc:spChg>
        <pc:spChg chg="add del mod">
          <ac:chgData name="Wang, David" userId="5ba1598c-ec07-46f3-a0aa-a1cc2acb9765" providerId="ADAL" clId="{14C079B1-3763-444B-B216-374EF69EE7DF}" dt="2021-07-26T06:18:16.852" v="3833"/>
          <ac:spMkLst>
            <pc:docMk/>
            <pc:sldMk cId="1121314240" sldId="335"/>
            <ac:spMk id="84" creationId="{177256E3-8B2B-4794-AD6F-42980340C480}"/>
          </ac:spMkLst>
        </pc:spChg>
        <pc:spChg chg="add del mod">
          <ac:chgData name="Wang, David" userId="5ba1598c-ec07-46f3-a0aa-a1cc2acb9765" providerId="ADAL" clId="{14C079B1-3763-444B-B216-374EF69EE7DF}" dt="2021-07-26T06:18:16.837" v="3832"/>
          <ac:spMkLst>
            <pc:docMk/>
            <pc:sldMk cId="1121314240" sldId="335"/>
            <ac:spMk id="85" creationId="{7DF95F18-A172-462B-A9AE-6887B7C35059}"/>
          </ac:spMkLst>
        </pc:spChg>
        <pc:spChg chg="add del mod">
          <ac:chgData name="Wang, David" userId="5ba1598c-ec07-46f3-a0aa-a1cc2acb9765" providerId="ADAL" clId="{14C079B1-3763-444B-B216-374EF69EE7DF}" dt="2021-07-26T06:18:16.837" v="3831"/>
          <ac:spMkLst>
            <pc:docMk/>
            <pc:sldMk cId="1121314240" sldId="335"/>
            <ac:spMk id="86" creationId="{D3F2D385-4200-4034-AD90-E27CEED9B3B1}"/>
          </ac:spMkLst>
        </pc:spChg>
        <pc:spChg chg="add del mod">
          <ac:chgData name="Wang, David" userId="5ba1598c-ec07-46f3-a0aa-a1cc2acb9765" providerId="ADAL" clId="{14C079B1-3763-444B-B216-374EF69EE7DF}" dt="2021-07-26T06:18:16.837" v="3830"/>
          <ac:spMkLst>
            <pc:docMk/>
            <pc:sldMk cId="1121314240" sldId="335"/>
            <ac:spMk id="87" creationId="{10B25EC2-BCE8-438D-B74A-B6FB9EFE889E}"/>
          </ac:spMkLst>
        </pc:spChg>
        <pc:spChg chg="add del mod">
          <ac:chgData name="Wang, David" userId="5ba1598c-ec07-46f3-a0aa-a1cc2acb9765" providerId="ADAL" clId="{14C079B1-3763-444B-B216-374EF69EE7DF}" dt="2021-07-26T06:18:16.837" v="3829"/>
          <ac:spMkLst>
            <pc:docMk/>
            <pc:sldMk cId="1121314240" sldId="335"/>
            <ac:spMk id="88" creationId="{A88329C9-D4E2-48F9-AE92-FA476A17C559}"/>
          </ac:spMkLst>
        </pc:spChg>
        <pc:spChg chg="add del mod">
          <ac:chgData name="Wang, David" userId="5ba1598c-ec07-46f3-a0aa-a1cc2acb9765" providerId="ADAL" clId="{14C079B1-3763-444B-B216-374EF69EE7DF}" dt="2021-07-26T06:18:16.837" v="3828"/>
          <ac:spMkLst>
            <pc:docMk/>
            <pc:sldMk cId="1121314240" sldId="335"/>
            <ac:spMk id="89" creationId="{B3E9E0CC-6CCF-4794-B424-EEEDDCADD600}"/>
          </ac:spMkLst>
        </pc:spChg>
        <pc:spChg chg="add del mod">
          <ac:chgData name="Wang, David" userId="5ba1598c-ec07-46f3-a0aa-a1cc2acb9765" providerId="ADAL" clId="{14C079B1-3763-444B-B216-374EF69EE7DF}" dt="2021-07-26T06:18:16.837" v="3827"/>
          <ac:spMkLst>
            <pc:docMk/>
            <pc:sldMk cId="1121314240" sldId="335"/>
            <ac:spMk id="90" creationId="{9E70CB40-66FD-4ADB-A8BA-0C16F957E57E}"/>
          </ac:spMkLst>
        </pc:spChg>
        <pc:spChg chg="add del mod">
          <ac:chgData name="Wang, David" userId="5ba1598c-ec07-46f3-a0aa-a1cc2acb9765" providerId="ADAL" clId="{14C079B1-3763-444B-B216-374EF69EE7DF}" dt="2021-07-26T06:18:16.837" v="3826"/>
          <ac:spMkLst>
            <pc:docMk/>
            <pc:sldMk cId="1121314240" sldId="335"/>
            <ac:spMk id="91" creationId="{18EB21AD-795D-4370-9124-89C9D25E89B6}"/>
          </ac:spMkLst>
        </pc:spChg>
        <pc:spChg chg="add del mod">
          <ac:chgData name="Wang, David" userId="5ba1598c-ec07-46f3-a0aa-a1cc2acb9765" providerId="ADAL" clId="{14C079B1-3763-444B-B216-374EF69EE7DF}" dt="2021-07-26T06:18:16.837" v="3825"/>
          <ac:spMkLst>
            <pc:docMk/>
            <pc:sldMk cId="1121314240" sldId="335"/>
            <ac:spMk id="92" creationId="{80BB4DF5-5FC4-4DC8-B272-A9F24BCD709E}"/>
          </ac:spMkLst>
        </pc:spChg>
        <pc:spChg chg="add del mod">
          <ac:chgData name="Wang, David" userId="5ba1598c-ec07-46f3-a0aa-a1cc2acb9765" providerId="ADAL" clId="{14C079B1-3763-444B-B216-374EF69EE7DF}" dt="2021-07-26T06:18:16.837" v="3824"/>
          <ac:spMkLst>
            <pc:docMk/>
            <pc:sldMk cId="1121314240" sldId="335"/>
            <ac:spMk id="93" creationId="{D6CE373D-FE47-4B22-A5F1-F6AAD751D0F6}"/>
          </ac:spMkLst>
        </pc:spChg>
        <pc:spChg chg="add del mod">
          <ac:chgData name="Wang, David" userId="5ba1598c-ec07-46f3-a0aa-a1cc2acb9765" providerId="ADAL" clId="{14C079B1-3763-444B-B216-374EF69EE7DF}" dt="2021-07-26T06:19:31.989" v="4916"/>
          <ac:spMkLst>
            <pc:docMk/>
            <pc:sldMk cId="1121314240" sldId="335"/>
            <ac:spMk id="94" creationId="{C3161C41-D124-4F61-872C-FAA4596501E3}"/>
          </ac:spMkLst>
        </pc:spChg>
        <pc:spChg chg="add del mod">
          <ac:chgData name="Wang, David" userId="5ba1598c-ec07-46f3-a0aa-a1cc2acb9765" providerId="ADAL" clId="{14C079B1-3763-444B-B216-374EF69EE7DF}" dt="2021-07-26T06:19:31.989" v="4915"/>
          <ac:spMkLst>
            <pc:docMk/>
            <pc:sldMk cId="1121314240" sldId="335"/>
            <ac:spMk id="95" creationId="{5EAE1409-79B7-4A1A-A653-DE517C0FC909}"/>
          </ac:spMkLst>
        </pc:spChg>
        <pc:spChg chg="add del mod">
          <ac:chgData name="Wang, David" userId="5ba1598c-ec07-46f3-a0aa-a1cc2acb9765" providerId="ADAL" clId="{14C079B1-3763-444B-B216-374EF69EE7DF}" dt="2021-07-26T06:19:31.989" v="4914"/>
          <ac:spMkLst>
            <pc:docMk/>
            <pc:sldMk cId="1121314240" sldId="335"/>
            <ac:spMk id="96" creationId="{1CA74C9F-8836-4A27-8130-6FB4AAA1852F}"/>
          </ac:spMkLst>
        </pc:spChg>
        <pc:spChg chg="add del mod ord">
          <ac:chgData name="Wang, David" userId="5ba1598c-ec07-46f3-a0aa-a1cc2acb9765" providerId="ADAL" clId="{14C079B1-3763-444B-B216-374EF69EE7DF}" dt="2021-07-26T06:19:31.989" v="4903"/>
          <ac:spMkLst>
            <pc:docMk/>
            <pc:sldMk cId="1121314240" sldId="335"/>
            <ac:spMk id="97" creationId="{5930BD85-5295-4C2D-8B6D-9F9F0DB8FD18}"/>
          </ac:spMkLst>
        </pc:spChg>
        <pc:spChg chg="add del mod ord">
          <ac:chgData name="Wang, David" userId="5ba1598c-ec07-46f3-a0aa-a1cc2acb9765" providerId="ADAL" clId="{14C079B1-3763-444B-B216-374EF69EE7DF}" dt="2021-07-26T06:19:31.973" v="4896"/>
          <ac:spMkLst>
            <pc:docMk/>
            <pc:sldMk cId="1121314240" sldId="335"/>
            <ac:spMk id="99" creationId="{F56D0E85-3802-4D5E-AC59-AF17D29ED3B0}"/>
          </ac:spMkLst>
        </pc:spChg>
        <pc:spChg chg="add del mod ord">
          <ac:chgData name="Wang, David" userId="5ba1598c-ec07-46f3-a0aa-a1cc2acb9765" providerId="ADAL" clId="{14C079B1-3763-444B-B216-374EF69EE7DF}" dt="2021-07-26T06:19:31.973" v="4894"/>
          <ac:spMkLst>
            <pc:docMk/>
            <pc:sldMk cId="1121314240" sldId="335"/>
            <ac:spMk id="100" creationId="{5CD5D131-0F05-4E61-BF54-F75E2E75F9ED}"/>
          </ac:spMkLst>
        </pc:spChg>
        <pc:spChg chg="add del mod modVis">
          <ac:chgData name="Wang, David" userId="5ba1598c-ec07-46f3-a0aa-a1cc2acb9765" providerId="ADAL" clId="{14C079B1-3763-444B-B216-374EF69EE7DF}" dt="2021-07-26T06:17:21.166" v="2828"/>
          <ac:spMkLst>
            <pc:docMk/>
            <pc:sldMk cId="1121314240" sldId="335"/>
            <ac:spMk id="122" creationId="{3C429212-A508-4831-8ADE-A086B88AA69F}"/>
          </ac:spMkLst>
        </pc:spChg>
        <pc:spChg chg="add del mod modVis">
          <ac:chgData name="Wang, David" userId="5ba1598c-ec07-46f3-a0aa-a1cc2acb9765" providerId="ADAL" clId="{14C079B1-3763-444B-B216-374EF69EE7DF}" dt="2021-07-26T06:17:23.829" v="2907"/>
          <ac:spMkLst>
            <pc:docMk/>
            <pc:sldMk cId="1121314240" sldId="335"/>
            <ac:spMk id="123" creationId="{AC7DAE59-E846-42FF-9380-080A72169A90}"/>
          </ac:spMkLst>
        </pc:spChg>
        <pc:spChg chg="add del mod">
          <ac:chgData name="Wang, David" userId="5ba1598c-ec07-46f3-a0aa-a1cc2acb9765" providerId="ADAL" clId="{14C079B1-3763-444B-B216-374EF69EE7DF}" dt="2021-07-26T06:17:38.119" v="3449"/>
          <ac:spMkLst>
            <pc:docMk/>
            <pc:sldMk cId="1121314240" sldId="335"/>
            <ac:spMk id="124" creationId="{D924A409-20A0-410C-8903-599E650350CC}"/>
          </ac:spMkLst>
        </pc:spChg>
        <pc:spChg chg="add del mod ord modVis">
          <ac:chgData name="Wang, David" userId="5ba1598c-ec07-46f3-a0aa-a1cc2acb9765" providerId="ADAL" clId="{14C079B1-3763-444B-B216-374EF69EE7DF}" dt="2021-07-26T06:17:38.821" v="3813"/>
          <ac:spMkLst>
            <pc:docMk/>
            <pc:sldMk cId="1121314240" sldId="335"/>
            <ac:spMk id="125" creationId="{663516AF-5138-438B-823C-53347BC9FCC0}"/>
          </ac:spMkLst>
        </pc:spChg>
        <pc:spChg chg="add del mod">
          <ac:chgData name="Wang, David" userId="5ba1598c-ec07-46f3-a0aa-a1cc2acb9765" providerId="ADAL" clId="{14C079B1-3763-444B-B216-374EF69EE7DF}" dt="2021-07-26T06:17:38.119" v="3450"/>
          <ac:spMkLst>
            <pc:docMk/>
            <pc:sldMk cId="1121314240" sldId="335"/>
            <ac:spMk id="126" creationId="{7FCAFDD6-EA32-47D5-B64C-60D11B359292}"/>
          </ac:spMkLst>
        </pc:spChg>
        <pc:spChg chg="add del mod">
          <ac:chgData name="Wang, David" userId="5ba1598c-ec07-46f3-a0aa-a1cc2acb9765" providerId="ADAL" clId="{14C079B1-3763-444B-B216-374EF69EE7DF}" dt="2021-07-26T06:18:17.670" v="4170"/>
          <ac:spMkLst>
            <pc:docMk/>
            <pc:sldMk cId="1121314240" sldId="335"/>
            <ac:spMk id="127" creationId="{954F92D2-5DD7-49F3-B647-310E7E343340}"/>
          </ac:spMkLst>
        </pc:spChg>
        <pc:spChg chg="add del mod">
          <ac:chgData name="Wang, David" userId="5ba1598c-ec07-46f3-a0aa-a1cc2acb9765" providerId="ADAL" clId="{14C079B1-3763-444B-B216-374EF69EE7DF}" dt="2021-07-26T06:18:17.670" v="4171"/>
          <ac:spMkLst>
            <pc:docMk/>
            <pc:sldMk cId="1121314240" sldId="335"/>
            <ac:spMk id="128" creationId="{E0185409-4B2C-41F3-A3BB-A02936B376D9}"/>
          </ac:spMkLst>
        </pc:spChg>
        <pc:spChg chg="add del mod">
          <ac:chgData name="Wang, David" userId="5ba1598c-ec07-46f3-a0aa-a1cc2acb9765" providerId="ADAL" clId="{14C079B1-3763-444B-B216-374EF69EE7DF}" dt="2021-07-26T06:18:16.852" v="3848"/>
          <ac:spMkLst>
            <pc:docMk/>
            <pc:sldMk cId="1121314240" sldId="335"/>
            <ac:spMk id="129" creationId="{A4EF99E6-A5DA-406C-892F-5FE3C7F049B4}"/>
          </ac:spMkLst>
        </pc:spChg>
        <pc:spChg chg="add del mod">
          <ac:chgData name="Wang, David" userId="5ba1598c-ec07-46f3-a0aa-a1cc2acb9765" providerId="ADAL" clId="{14C079B1-3763-444B-B216-374EF69EE7DF}" dt="2021-07-26T06:18:16.852" v="3847"/>
          <ac:spMkLst>
            <pc:docMk/>
            <pc:sldMk cId="1121314240" sldId="335"/>
            <ac:spMk id="130" creationId="{B5838D41-EDA3-4BE2-87C3-435552CAE4AC}"/>
          </ac:spMkLst>
        </pc:spChg>
        <pc:spChg chg="add del mod">
          <ac:chgData name="Wang, David" userId="5ba1598c-ec07-46f3-a0aa-a1cc2acb9765" providerId="ADAL" clId="{14C079B1-3763-444B-B216-374EF69EE7DF}" dt="2021-07-26T06:18:16.852" v="3846"/>
          <ac:spMkLst>
            <pc:docMk/>
            <pc:sldMk cId="1121314240" sldId="335"/>
            <ac:spMk id="131" creationId="{5BAF3030-CEEC-4119-8C27-37268F936481}"/>
          </ac:spMkLst>
        </pc:spChg>
        <pc:spChg chg="add del mod">
          <ac:chgData name="Wang, David" userId="5ba1598c-ec07-46f3-a0aa-a1cc2acb9765" providerId="ADAL" clId="{14C079B1-3763-444B-B216-374EF69EE7DF}" dt="2021-07-26T06:18:16.852" v="3845"/>
          <ac:spMkLst>
            <pc:docMk/>
            <pc:sldMk cId="1121314240" sldId="335"/>
            <ac:spMk id="132" creationId="{F8C2038D-E9B1-41A4-B628-7F9D57BFA1F9}"/>
          </ac:spMkLst>
        </pc:spChg>
        <pc:spChg chg="add del mod">
          <ac:chgData name="Wang, David" userId="5ba1598c-ec07-46f3-a0aa-a1cc2acb9765" providerId="ADAL" clId="{14C079B1-3763-444B-B216-374EF69EE7DF}" dt="2021-07-26T06:18:16.852" v="3844"/>
          <ac:spMkLst>
            <pc:docMk/>
            <pc:sldMk cId="1121314240" sldId="335"/>
            <ac:spMk id="133" creationId="{D5396449-70B2-42E0-94CF-F2ADD3737401}"/>
          </ac:spMkLst>
        </pc:spChg>
        <pc:spChg chg="add del mod">
          <ac:chgData name="Wang, David" userId="5ba1598c-ec07-46f3-a0aa-a1cc2acb9765" providerId="ADAL" clId="{14C079B1-3763-444B-B216-374EF69EE7DF}" dt="2021-07-26T06:18:16.852" v="3843"/>
          <ac:spMkLst>
            <pc:docMk/>
            <pc:sldMk cId="1121314240" sldId="335"/>
            <ac:spMk id="134" creationId="{78377AE4-552C-40F1-84C5-B990230C885A}"/>
          </ac:spMkLst>
        </pc:spChg>
        <pc:spChg chg="add del mod">
          <ac:chgData name="Wang, David" userId="5ba1598c-ec07-46f3-a0aa-a1cc2acb9765" providerId="ADAL" clId="{14C079B1-3763-444B-B216-374EF69EE7DF}" dt="2021-07-26T06:18:16.852" v="3842"/>
          <ac:spMkLst>
            <pc:docMk/>
            <pc:sldMk cId="1121314240" sldId="335"/>
            <ac:spMk id="135" creationId="{AD53BCB4-9FEE-479F-8DBE-53C65B76A9E2}"/>
          </ac:spMkLst>
        </pc:spChg>
        <pc:spChg chg="add del mod">
          <ac:chgData name="Wang, David" userId="5ba1598c-ec07-46f3-a0aa-a1cc2acb9765" providerId="ADAL" clId="{14C079B1-3763-444B-B216-374EF69EE7DF}" dt="2021-07-26T06:18:16.852" v="3841"/>
          <ac:spMkLst>
            <pc:docMk/>
            <pc:sldMk cId="1121314240" sldId="335"/>
            <ac:spMk id="136" creationId="{E01B738E-9887-4979-8C52-A9F71AA5B898}"/>
          </ac:spMkLst>
        </pc:spChg>
        <pc:spChg chg="add del mod">
          <ac:chgData name="Wang, David" userId="5ba1598c-ec07-46f3-a0aa-a1cc2acb9765" providerId="ADAL" clId="{14C079B1-3763-444B-B216-374EF69EE7DF}" dt="2021-07-26T06:18:16.852" v="3840"/>
          <ac:spMkLst>
            <pc:docMk/>
            <pc:sldMk cId="1121314240" sldId="335"/>
            <ac:spMk id="137" creationId="{E6FAF081-E5A0-4084-9AC3-774EA1CD7D9C}"/>
          </ac:spMkLst>
        </pc:spChg>
        <pc:spChg chg="add del mod">
          <ac:chgData name="Wang, David" userId="5ba1598c-ec07-46f3-a0aa-a1cc2acb9765" providerId="ADAL" clId="{14C079B1-3763-444B-B216-374EF69EE7DF}" dt="2021-07-26T06:18:16.852" v="3839"/>
          <ac:spMkLst>
            <pc:docMk/>
            <pc:sldMk cId="1121314240" sldId="335"/>
            <ac:spMk id="138" creationId="{2FB6462E-5F1B-4482-A3D6-0804740C1B76}"/>
          </ac:spMkLst>
        </pc:spChg>
        <pc:spChg chg="add del mod">
          <ac:chgData name="Wang, David" userId="5ba1598c-ec07-46f3-a0aa-a1cc2acb9765" providerId="ADAL" clId="{14C079B1-3763-444B-B216-374EF69EE7DF}" dt="2021-07-26T06:18:16.852" v="3838"/>
          <ac:spMkLst>
            <pc:docMk/>
            <pc:sldMk cId="1121314240" sldId="335"/>
            <ac:spMk id="139" creationId="{03C33DAA-C31D-40D8-90F3-7C4A0FA8BB07}"/>
          </ac:spMkLst>
        </pc:spChg>
        <pc:spChg chg="add del mod">
          <ac:chgData name="Wang, David" userId="5ba1598c-ec07-46f3-a0aa-a1cc2acb9765" providerId="ADAL" clId="{14C079B1-3763-444B-B216-374EF69EE7DF}" dt="2021-07-26T06:19:32.004" v="4919"/>
          <ac:spMkLst>
            <pc:docMk/>
            <pc:sldMk cId="1121314240" sldId="335"/>
            <ac:spMk id="140" creationId="{CC680766-573E-4D50-9122-B2FAFA27A539}"/>
          </ac:spMkLst>
        </pc:spChg>
        <pc:spChg chg="add del mod">
          <ac:chgData name="Wang, David" userId="5ba1598c-ec07-46f3-a0aa-a1cc2acb9765" providerId="ADAL" clId="{14C079B1-3763-444B-B216-374EF69EE7DF}" dt="2021-07-26T06:19:32.004" v="4918"/>
          <ac:spMkLst>
            <pc:docMk/>
            <pc:sldMk cId="1121314240" sldId="335"/>
            <ac:spMk id="141" creationId="{5A5F6E31-0C7D-41E3-92FC-A2C6D7CB6A56}"/>
          </ac:spMkLst>
        </pc:spChg>
        <pc:spChg chg="add del mod">
          <ac:chgData name="Wang, David" userId="5ba1598c-ec07-46f3-a0aa-a1cc2acb9765" providerId="ADAL" clId="{14C079B1-3763-444B-B216-374EF69EE7DF}" dt="2021-07-26T06:19:32.004" v="4917"/>
          <ac:spMkLst>
            <pc:docMk/>
            <pc:sldMk cId="1121314240" sldId="335"/>
            <ac:spMk id="142" creationId="{83610B44-11D8-4272-8A29-7AC52B86BFDD}"/>
          </ac:spMkLst>
        </pc:spChg>
        <pc:spChg chg="add del mod">
          <ac:chgData name="Wang, David" userId="5ba1598c-ec07-46f3-a0aa-a1cc2acb9765" providerId="ADAL" clId="{14C079B1-3763-444B-B216-374EF69EE7DF}" dt="2021-07-26T06:19:31.989" v="4913"/>
          <ac:spMkLst>
            <pc:docMk/>
            <pc:sldMk cId="1121314240" sldId="335"/>
            <ac:spMk id="159" creationId="{C37640EB-EF7B-4B4B-BDA3-D497A8FD35B9}"/>
          </ac:spMkLst>
        </pc:spChg>
        <pc:spChg chg="add del mod ord modVis">
          <ac:chgData name="Wang, David" userId="5ba1598c-ec07-46f3-a0aa-a1cc2acb9765" providerId="ADAL" clId="{14C079B1-3763-444B-B216-374EF69EE7DF}" dt="2021-07-26T06:18:18.957" v="4881"/>
          <ac:spMkLst>
            <pc:docMk/>
            <pc:sldMk cId="1121314240" sldId="335"/>
            <ac:spMk id="160" creationId="{722CA4E7-0661-4AEE-84D8-A6CB97AC063D}"/>
          </ac:spMkLst>
        </pc:spChg>
        <pc:spChg chg="add del mod">
          <ac:chgData name="Wang, David" userId="5ba1598c-ec07-46f3-a0aa-a1cc2acb9765" providerId="ADAL" clId="{14C079B1-3763-444B-B216-374EF69EE7DF}" dt="2021-07-26T06:19:31.989" v="4912"/>
          <ac:spMkLst>
            <pc:docMk/>
            <pc:sldMk cId="1121314240" sldId="335"/>
            <ac:spMk id="161" creationId="{072FBFC0-3307-4529-AB80-D8299A10ED7D}"/>
          </ac:spMkLst>
        </pc:spChg>
        <pc:spChg chg="add del mod">
          <ac:chgData name="Wang, David" userId="5ba1598c-ec07-46f3-a0aa-a1cc2acb9765" providerId="ADAL" clId="{14C079B1-3763-444B-B216-374EF69EE7DF}" dt="2021-07-26T06:19:31.989" v="4911"/>
          <ac:spMkLst>
            <pc:docMk/>
            <pc:sldMk cId="1121314240" sldId="335"/>
            <ac:spMk id="162" creationId="{84FD7EA4-B55E-4687-B858-DA46673CE320}"/>
          </ac:spMkLst>
        </pc:spChg>
        <pc:spChg chg="add del mod">
          <ac:chgData name="Wang, David" userId="5ba1598c-ec07-46f3-a0aa-a1cc2acb9765" providerId="ADAL" clId="{14C079B1-3763-444B-B216-374EF69EE7DF}" dt="2021-07-26T06:19:31.989" v="4910"/>
          <ac:spMkLst>
            <pc:docMk/>
            <pc:sldMk cId="1121314240" sldId="335"/>
            <ac:spMk id="163" creationId="{1D645355-D9CB-4AF1-88D2-6D9D74A4DDD8}"/>
          </ac:spMkLst>
        </pc:spChg>
        <pc:spChg chg="add del mod">
          <ac:chgData name="Wang, David" userId="5ba1598c-ec07-46f3-a0aa-a1cc2acb9765" providerId="ADAL" clId="{14C079B1-3763-444B-B216-374EF69EE7DF}" dt="2021-07-26T06:19:31.989" v="4909"/>
          <ac:spMkLst>
            <pc:docMk/>
            <pc:sldMk cId="1121314240" sldId="335"/>
            <ac:spMk id="164" creationId="{22ED0B8C-3442-4DBD-B96D-8B7932AAA32D}"/>
          </ac:spMkLst>
        </pc:spChg>
        <pc:spChg chg="add del mod">
          <ac:chgData name="Wang, David" userId="5ba1598c-ec07-46f3-a0aa-a1cc2acb9765" providerId="ADAL" clId="{14C079B1-3763-444B-B216-374EF69EE7DF}" dt="2021-07-26T06:19:31.989" v="4908"/>
          <ac:spMkLst>
            <pc:docMk/>
            <pc:sldMk cId="1121314240" sldId="335"/>
            <ac:spMk id="165" creationId="{07C70435-1F6E-417D-84CC-8CD43CEB75E4}"/>
          </ac:spMkLst>
        </pc:spChg>
        <pc:spChg chg="add del mod">
          <ac:chgData name="Wang, David" userId="5ba1598c-ec07-46f3-a0aa-a1cc2acb9765" providerId="ADAL" clId="{14C079B1-3763-444B-B216-374EF69EE7DF}" dt="2021-07-26T06:19:31.989" v="4907"/>
          <ac:spMkLst>
            <pc:docMk/>
            <pc:sldMk cId="1121314240" sldId="335"/>
            <ac:spMk id="166" creationId="{06E28FF4-09DA-4524-B774-CEE99B2D409C}"/>
          </ac:spMkLst>
        </pc:spChg>
        <pc:spChg chg="add del mod">
          <ac:chgData name="Wang, David" userId="5ba1598c-ec07-46f3-a0aa-a1cc2acb9765" providerId="ADAL" clId="{14C079B1-3763-444B-B216-374EF69EE7DF}" dt="2021-07-26T06:19:31.989" v="4906"/>
          <ac:spMkLst>
            <pc:docMk/>
            <pc:sldMk cId="1121314240" sldId="335"/>
            <ac:spMk id="167" creationId="{B7E50E7E-B709-43A3-A6E4-D11E55849474}"/>
          </ac:spMkLst>
        </pc:spChg>
        <pc:spChg chg="add del mod">
          <ac:chgData name="Wang, David" userId="5ba1598c-ec07-46f3-a0aa-a1cc2acb9765" providerId="ADAL" clId="{14C079B1-3763-444B-B216-374EF69EE7DF}" dt="2021-07-26T06:19:31.989" v="4905"/>
          <ac:spMkLst>
            <pc:docMk/>
            <pc:sldMk cId="1121314240" sldId="335"/>
            <ac:spMk id="168" creationId="{A5204616-2343-46D0-A6A2-02EDE13A88BA}"/>
          </ac:spMkLst>
        </pc:spChg>
        <pc:spChg chg="add mod">
          <ac:chgData name="Wang, David" userId="5ba1598c-ec07-46f3-a0aa-a1cc2acb9765" providerId="ADAL" clId="{14C079B1-3763-444B-B216-374EF69EE7DF}" dt="2021-07-26T08:48:24.284" v="23374"/>
          <ac:spMkLst>
            <pc:docMk/>
            <pc:sldMk cId="1121314240" sldId="335"/>
            <ac:spMk id="206" creationId="{9E1367D4-28B6-4119-842C-9A085E9D6270}"/>
          </ac:spMkLst>
        </pc:spChg>
        <pc:spChg chg="add mod">
          <ac:chgData name="Wang, David" userId="5ba1598c-ec07-46f3-a0aa-a1cc2acb9765" providerId="ADAL" clId="{14C079B1-3763-444B-B216-374EF69EE7DF}" dt="2021-07-26T08:48:24.284" v="23375"/>
          <ac:spMkLst>
            <pc:docMk/>
            <pc:sldMk cId="1121314240" sldId="335"/>
            <ac:spMk id="207" creationId="{0B4A72E4-8F49-4599-9D39-7CB5CDC8900A}"/>
          </ac:spMkLst>
        </pc:spChg>
        <pc:spChg chg="add mod">
          <ac:chgData name="Wang, David" userId="5ba1598c-ec07-46f3-a0aa-a1cc2acb9765" providerId="ADAL" clId="{14C079B1-3763-444B-B216-374EF69EE7DF}" dt="2021-07-26T08:48:24.284" v="23376"/>
          <ac:spMkLst>
            <pc:docMk/>
            <pc:sldMk cId="1121314240" sldId="335"/>
            <ac:spMk id="208" creationId="{69228C3E-55D0-4A11-B86B-0DBD73E7B5E9}"/>
          </ac:spMkLst>
        </pc:spChg>
        <pc:spChg chg="add mod">
          <ac:chgData name="Wang, David" userId="5ba1598c-ec07-46f3-a0aa-a1cc2acb9765" providerId="ADAL" clId="{14C079B1-3763-444B-B216-374EF69EE7DF}" dt="2021-07-26T08:48:24.284" v="23377"/>
          <ac:spMkLst>
            <pc:docMk/>
            <pc:sldMk cId="1121314240" sldId="335"/>
            <ac:spMk id="209" creationId="{E3871573-23FE-4E7A-8E9C-F04056EE70BE}"/>
          </ac:spMkLst>
        </pc:spChg>
        <pc:spChg chg="add mod">
          <ac:chgData name="Wang, David" userId="5ba1598c-ec07-46f3-a0aa-a1cc2acb9765" providerId="ADAL" clId="{14C079B1-3763-444B-B216-374EF69EE7DF}" dt="2021-07-26T08:48:24.300" v="23378"/>
          <ac:spMkLst>
            <pc:docMk/>
            <pc:sldMk cId="1121314240" sldId="335"/>
            <ac:spMk id="210" creationId="{DF6B9752-BBD2-42E1-9E30-103B894DCA1C}"/>
          </ac:spMkLst>
        </pc:spChg>
        <pc:spChg chg="add mod">
          <ac:chgData name="Wang, David" userId="5ba1598c-ec07-46f3-a0aa-a1cc2acb9765" providerId="ADAL" clId="{14C079B1-3763-444B-B216-374EF69EE7DF}" dt="2021-07-26T08:48:24.300" v="23379"/>
          <ac:spMkLst>
            <pc:docMk/>
            <pc:sldMk cId="1121314240" sldId="335"/>
            <ac:spMk id="211" creationId="{36B33435-9F9D-47D9-851D-DF89BC995A99}"/>
          </ac:spMkLst>
        </pc:spChg>
        <pc:spChg chg="add mod">
          <ac:chgData name="Wang, David" userId="5ba1598c-ec07-46f3-a0aa-a1cc2acb9765" providerId="ADAL" clId="{14C079B1-3763-444B-B216-374EF69EE7DF}" dt="2021-07-26T08:48:24.300" v="23380"/>
          <ac:spMkLst>
            <pc:docMk/>
            <pc:sldMk cId="1121314240" sldId="335"/>
            <ac:spMk id="212" creationId="{0135892B-C866-4BA8-995B-9D73F33EBB47}"/>
          </ac:spMkLst>
        </pc:spChg>
        <pc:spChg chg="add mod">
          <ac:chgData name="Wang, David" userId="5ba1598c-ec07-46f3-a0aa-a1cc2acb9765" providerId="ADAL" clId="{14C079B1-3763-444B-B216-374EF69EE7DF}" dt="2021-07-26T08:48:24.300" v="23381"/>
          <ac:spMkLst>
            <pc:docMk/>
            <pc:sldMk cId="1121314240" sldId="335"/>
            <ac:spMk id="213" creationId="{84B25C79-60D1-46EB-A2F5-CA570DD7FCC8}"/>
          </ac:spMkLst>
        </pc:spChg>
        <pc:spChg chg="add mod">
          <ac:chgData name="Wang, David" userId="5ba1598c-ec07-46f3-a0aa-a1cc2acb9765" providerId="ADAL" clId="{14C079B1-3763-444B-B216-374EF69EE7DF}" dt="2021-07-26T08:48:24.300" v="23382"/>
          <ac:spMkLst>
            <pc:docMk/>
            <pc:sldMk cId="1121314240" sldId="335"/>
            <ac:spMk id="214" creationId="{AC69695F-24DB-4A1B-9BC8-F85B72DFCC54}"/>
          </ac:spMkLst>
        </pc:spChg>
        <pc:spChg chg="add mod">
          <ac:chgData name="Wang, David" userId="5ba1598c-ec07-46f3-a0aa-a1cc2acb9765" providerId="ADAL" clId="{14C079B1-3763-444B-B216-374EF69EE7DF}" dt="2021-07-26T08:48:24.300" v="23383"/>
          <ac:spMkLst>
            <pc:docMk/>
            <pc:sldMk cId="1121314240" sldId="335"/>
            <ac:spMk id="215" creationId="{608C7124-1C20-4C32-A396-771AB3C35204}"/>
          </ac:spMkLst>
        </pc:spChg>
        <pc:spChg chg="add del mod">
          <ac:chgData name="Wang, David" userId="5ba1598c-ec07-46f3-a0aa-a1cc2acb9765" providerId="ADAL" clId="{14C079B1-3763-444B-B216-374EF69EE7DF}" dt="2021-07-26T08:48:24.300" v="23384"/>
          <ac:spMkLst>
            <pc:docMk/>
            <pc:sldMk cId="1121314240" sldId="335"/>
            <ac:spMk id="216" creationId="{F7B0C8E3-7019-46E8-92F3-25C11A4748DF}"/>
          </ac:spMkLst>
        </pc:spChg>
        <pc:spChg chg="add del mod">
          <ac:chgData name="Wang, David" userId="5ba1598c-ec07-46f3-a0aa-a1cc2acb9765" providerId="ADAL" clId="{14C079B1-3763-444B-B216-374EF69EE7DF}" dt="2021-07-26T08:48:24.300" v="23385"/>
          <ac:spMkLst>
            <pc:docMk/>
            <pc:sldMk cId="1121314240" sldId="335"/>
            <ac:spMk id="217" creationId="{651A3D62-51BC-4E84-B66A-7C2CA2A436B1}"/>
          </ac:spMkLst>
        </pc:spChg>
        <pc:spChg chg="add del mod">
          <ac:chgData name="Wang, David" userId="5ba1598c-ec07-46f3-a0aa-a1cc2acb9765" providerId="ADAL" clId="{14C079B1-3763-444B-B216-374EF69EE7DF}" dt="2021-07-26T06:29:12.403" v="11630"/>
          <ac:spMkLst>
            <pc:docMk/>
            <pc:sldMk cId="1121314240" sldId="335"/>
            <ac:spMk id="218" creationId="{D0582C03-3971-4AAD-BAAB-DA7FF2A4AC46}"/>
          </ac:spMkLst>
        </pc:spChg>
        <pc:spChg chg="add del mod ord">
          <ac:chgData name="Wang, David" userId="5ba1598c-ec07-46f3-a0aa-a1cc2acb9765" providerId="ADAL" clId="{14C079B1-3763-444B-B216-374EF69EE7DF}" dt="2021-07-26T06:20:03.347" v="6497"/>
          <ac:spMkLst>
            <pc:docMk/>
            <pc:sldMk cId="1121314240" sldId="335"/>
            <ac:spMk id="236" creationId="{265B8A49-47A9-4EDC-8F56-E0AD6F0074D1}"/>
          </ac:spMkLst>
        </pc:spChg>
        <pc:spChg chg="add mod ord">
          <ac:chgData name="Wang, David" userId="5ba1598c-ec07-46f3-a0aa-a1cc2acb9765" providerId="ADAL" clId="{14C079B1-3763-444B-B216-374EF69EE7DF}" dt="2021-07-26T08:48:24.215" v="23346" actId="948"/>
          <ac:spMkLst>
            <pc:docMk/>
            <pc:sldMk cId="1121314240" sldId="335"/>
            <ac:spMk id="237" creationId="{00D75407-36A9-41C0-A349-F2B11B106B67}"/>
          </ac:spMkLst>
        </pc:spChg>
        <pc:spChg chg="add del mod ord">
          <ac:chgData name="Wang, David" userId="5ba1598c-ec07-46f3-a0aa-a1cc2acb9765" providerId="ADAL" clId="{14C079B1-3763-444B-B216-374EF69EE7DF}" dt="2021-07-26T06:20:16.304" v="6609"/>
          <ac:spMkLst>
            <pc:docMk/>
            <pc:sldMk cId="1121314240" sldId="335"/>
            <ac:spMk id="238" creationId="{9DC0BFD6-51C8-4D00-B242-5AE2705C41B3}"/>
          </ac:spMkLst>
        </pc:spChg>
        <pc:spChg chg="add mod ord">
          <ac:chgData name="Wang, David" userId="5ba1598c-ec07-46f3-a0aa-a1cc2acb9765" providerId="ADAL" clId="{14C079B1-3763-444B-B216-374EF69EE7DF}" dt="2021-07-26T08:48:24.215" v="23345" actId="948"/>
          <ac:spMkLst>
            <pc:docMk/>
            <pc:sldMk cId="1121314240" sldId="335"/>
            <ac:spMk id="239" creationId="{868E4D61-135A-4841-BC3C-7F319FA3B516}"/>
          </ac:spMkLst>
        </pc:spChg>
        <pc:spChg chg="add mod ord">
          <ac:chgData name="Wang, David" userId="5ba1598c-ec07-46f3-a0aa-a1cc2acb9765" providerId="ADAL" clId="{14C079B1-3763-444B-B216-374EF69EE7DF}" dt="2021-07-26T08:48:24.215" v="23344" actId="948"/>
          <ac:spMkLst>
            <pc:docMk/>
            <pc:sldMk cId="1121314240" sldId="335"/>
            <ac:spMk id="240" creationId="{5E4913E7-E79E-4644-9964-A8CA09C93DC3}"/>
          </ac:spMkLst>
        </pc:spChg>
        <pc:spChg chg="add del mod ord">
          <ac:chgData name="Wang, David" userId="5ba1598c-ec07-46f3-a0aa-a1cc2acb9765" providerId="ADAL" clId="{14C079B1-3763-444B-B216-374EF69EE7DF}" dt="2021-07-26T06:20:01.089" v="6311"/>
          <ac:spMkLst>
            <pc:docMk/>
            <pc:sldMk cId="1121314240" sldId="335"/>
            <ac:spMk id="241" creationId="{131538B5-6952-4317-BDD7-681FC4DA3722}"/>
          </ac:spMkLst>
        </pc:spChg>
        <pc:spChg chg="add mod ord">
          <ac:chgData name="Wang, David" userId="5ba1598c-ec07-46f3-a0aa-a1cc2acb9765" providerId="ADAL" clId="{14C079B1-3763-444B-B216-374EF69EE7DF}" dt="2021-07-26T08:48:24.215" v="23343" actId="948"/>
          <ac:spMkLst>
            <pc:docMk/>
            <pc:sldMk cId="1121314240" sldId="335"/>
            <ac:spMk id="242" creationId="{2E011939-34C4-4D97-BD08-E510277F10B4}"/>
          </ac:spMkLst>
        </pc:spChg>
        <pc:spChg chg="add del mod ord">
          <ac:chgData name="Wang, David" userId="5ba1598c-ec07-46f3-a0aa-a1cc2acb9765" providerId="ADAL" clId="{14C079B1-3763-444B-B216-374EF69EE7DF}" dt="2021-07-26T06:19:57.882" v="6007"/>
          <ac:spMkLst>
            <pc:docMk/>
            <pc:sldMk cId="1121314240" sldId="335"/>
            <ac:spMk id="243" creationId="{8BE0BB1B-F568-414E-9A9E-40BAEEFEC9EE}"/>
          </ac:spMkLst>
        </pc:spChg>
        <pc:spChg chg="add mod ord">
          <ac:chgData name="Wang, David" userId="5ba1598c-ec07-46f3-a0aa-a1cc2acb9765" providerId="ADAL" clId="{14C079B1-3763-444B-B216-374EF69EE7DF}" dt="2021-07-26T08:48:24.215" v="23342" actId="948"/>
          <ac:spMkLst>
            <pc:docMk/>
            <pc:sldMk cId="1121314240" sldId="335"/>
            <ac:spMk id="244" creationId="{9B4EFBFE-314B-4A11-A41D-673BC0B879B7}"/>
          </ac:spMkLst>
        </pc:spChg>
        <pc:spChg chg="add del mod">
          <ac:chgData name="Wang, David" userId="5ba1598c-ec07-46f3-a0aa-a1cc2acb9765" providerId="ADAL" clId="{14C079B1-3763-444B-B216-374EF69EE7DF}" dt="2021-07-26T06:19:56.811" v="5847"/>
          <ac:spMkLst>
            <pc:docMk/>
            <pc:sldMk cId="1121314240" sldId="335"/>
            <ac:spMk id="245" creationId="{C5F891D4-6EE2-46FA-8EC1-BEAA381A02CF}"/>
          </ac:spMkLst>
        </pc:spChg>
        <pc:spChg chg="add del mod ord">
          <ac:chgData name="Wang, David" userId="5ba1598c-ec07-46f3-a0aa-a1cc2acb9765" providerId="ADAL" clId="{14C079B1-3763-444B-B216-374EF69EE7DF}" dt="2021-07-26T08:48:24.284" v="23369"/>
          <ac:spMkLst>
            <pc:docMk/>
            <pc:sldMk cId="1121314240" sldId="335"/>
            <ac:spMk id="246" creationId="{BC42280F-3913-456E-8700-2169439964A1}"/>
          </ac:spMkLst>
        </pc:spChg>
        <pc:spChg chg="add del mod ord">
          <ac:chgData name="Wang, David" userId="5ba1598c-ec07-46f3-a0aa-a1cc2acb9765" providerId="ADAL" clId="{14C079B1-3763-444B-B216-374EF69EE7DF}" dt="2021-07-26T06:20:11.458" v="6534"/>
          <ac:spMkLst>
            <pc:docMk/>
            <pc:sldMk cId="1121314240" sldId="335"/>
            <ac:spMk id="247" creationId="{24505AAC-B33B-4F9F-890B-B01C33CE7D1A}"/>
          </ac:spMkLst>
        </pc:spChg>
        <pc:spChg chg="add mod ord">
          <ac:chgData name="Wang, David" userId="5ba1598c-ec07-46f3-a0aa-a1cc2acb9765" providerId="ADAL" clId="{14C079B1-3763-444B-B216-374EF69EE7DF}" dt="2021-07-26T08:47:54.218" v="22886"/>
          <ac:spMkLst>
            <pc:docMk/>
            <pc:sldMk cId="1121314240" sldId="335"/>
            <ac:spMk id="248" creationId="{D0312597-BF10-4F80-AEC1-CC193E5207E0}"/>
          </ac:spMkLst>
        </pc:spChg>
        <pc:spChg chg="add del mod ord">
          <ac:chgData name="Wang, David" userId="5ba1598c-ec07-46f3-a0aa-a1cc2acb9765" providerId="ADAL" clId="{14C079B1-3763-444B-B216-374EF69EE7DF}" dt="2021-07-26T06:20:14.832" v="6572"/>
          <ac:spMkLst>
            <pc:docMk/>
            <pc:sldMk cId="1121314240" sldId="335"/>
            <ac:spMk id="249" creationId="{9D030890-65E4-411D-8108-9117F56B7233}"/>
          </ac:spMkLst>
        </pc:spChg>
        <pc:spChg chg="add del mod ord">
          <ac:chgData name="Wang, David" userId="5ba1598c-ec07-46f3-a0aa-a1cc2acb9765" providerId="ADAL" clId="{14C079B1-3763-444B-B216-374EF69EE7DF}" dt="2021-07-26T06:20:17.826" v="6723"/>
          <ac:spMkLst>
            <pc:docMk/>
            <pc:sldMk cId="1121314240" sldId="335"/>
            <ac:spMk id="250" creationId="{5F8CEE2A-3D12-49ED-8D92-F9A12E465A6D}"/>
          </ac:spMkLst>
        </pc:spChg>
        <pc:spChg chg="add mod ord">
          <ac:chgData name="Wang, David" userId="5ba1598c-ec07-46f3-a0aa-a1cc2acb9765" providerId="ADAL" clId="{14C079B1-3763-444B-B216-374EF69EE7DF}" dt="2021-07-26T08:47:54.219" v="22888"/>
          <ac:spMkLst>
            <pc:docMk/>
            <pc:sldMk cId="1121314240" sldId="335"/>
            <ac:spMk id="251" creationId="{70C8A3EB-4CAB-487F-8D02-740C646D03A4}"/>
          </ac:spMkLst>
        </pc:spChg>
        <pc:spChg chg="add del mod ord">
          <ac:chgData name="Wang, David" userId="5ba1598c-ec07-46f3-a0aa-a1cc2acb9765" providerId="ADAL" clId="{14C079B1-3763-444B-B216-374EF69EE7DF}" dt="2021-07-26T06:19:59.502" v="6164"/>
          <ac:spMkLst>
            <pc:docMk/>
            <pc:sldMk cId="1121314240" sldId="335"/>
            <ac:spMk id="252" creationId="{50F36B8B-1850-4409-85E8-28E2252228C8}"/>
          </ac:spMkLst>
        </pc:spChg>
        <pc:spChg chg="add mod ord">
          <ac:chgData name="Wang, David" userId="5ba1598c-ec07-46f3-a0aa-a1cc2acb9765" providerId="ADAL" clId="{14C079B1-3763-444B-B216-374EF69EE7DF}" dt="2021-07-26T08:47:54.220" v="22894"/>
          <ac:spMkLst>
            <pc:docMk/>
            <pc:sldMk cId="1121314240" sldId="335"/>
            <ac:spMk id="253" creationId="{86F3029E-F9DC-4A4D-8A31-740162A28228}"/>
          </ac:spMkLst>
        </pc:spChg>
        <pc:spChg chg="add mod ord">
          <ac:chgData name="Wang, David" userId="5ba1598c-ec07-46f3-a0aa-a1cc2acb9765" providerId="ADAL" clId="{14C079B1-3763-444B-B216-374EF69EE7DF}" dt="2021-07-26T08:47:54.220" v="22892"/>
          <ac:spMkLst>
            <pc:docMk/>
            <pc:sldMk cId="1121314240" sldId="335"/>
            <ac:spMk id="254" creationId="{AC2CF6EA-48AD-4D21-A910-9367A16ABFB7}"/>
          </ac:spMkLst>
        </pc:spChg>
        <pc:spChg chg="add mod ord">
          <ac:chgData name="Wang, David" userId="5ba1598c-ec07-46f3-a0aa-a1cc2acb9765" providerId="ADAL" clId="{14C079B1-3763-444B-B216-374EF69EE7DF}" dt="2021-07-26T08:48:24.231" v="23354" actId="948"/>
          <ac:spMkLst>
            <pc:docMk/>
            <pc:sldMk cId="1121314240" sldId="335"/>
            <ac:spMk id="255" creationId="{F2C3088E-C818-46F1-A597-568CECF3BC90}"/>
          </ac:spMkLst>
        </pc:spChg>
        <pc:spChg chg="add del mod ord">
          <ac:chgData name="Wang, David" userId="5ba1598c-ec07-46f3-a0aa-a1cc2acb9765" providerId="ADAL" clId="{14C079B1-3763-444B-B216-374EF69EE7DF}" dt="2021-07-26T08:48:24.284" v="23373"/>
          <ac:spMkLst>
            <pc:docMk/>
            <pc:sldMk cId="1121314240" sldId="335"/>
            <ac:spMk id="256" creationId="{FCBAEB1D-B232-46D3-B345-8F7A25B0209B}"/>
          </ac:spMkLst>
        </pc:spChg>
        <pc:spChg chg="add mod ord">
          <ac:chgData name="Wang, David" userId="5ba1598c-ec07-46f3-a0aa-a1cc2acb9765" providerId="ADAL" clId="{14C079B1-3763-444B-B216-374EF69EE7DF}" dt="2021-07-26T08:48:24.215" v="23341" actId="948"/>
          <ac:spMkLst>
            <pc:docMk/>
            <pc:sldMk cId="1121314240" sldId="335"/>
            <ac:spMk id="257" creationId="{CB7DE4B1-3F67-4AB6-B205-C6D69AF1D2FC}"/>
          </ac:spMkLst>
        </pc:spChg>
        <pc:spChg chg="add mod">
          <ac:chgData name="Wang, David" userId="5ba1598c-ec07-46f3-a0aa-a1cc2acb9765" providerId="ADAL" clId="{14C079B1-3763-444B-B216-374EF69EE7DF}" dt="2021-07-26T08:48:24.199" v="23336"/>
          <ac:spMkLst>
            <pc:docMk/>
            <pc:sldMk cId="1121314240" sldId="335"/>
            <ac:spMk id="258" creationId="{5F66CDFE-97ED-4C69-A33D-F36F2A5B9ABD}"/>
          </ac:spMkLst>
        </pc:spChg>
        <pc:spChg chg="add mod">
          <ac:chgData name="Wang, David" userId="5ba1598c-ec07-46f3-a0aa-a1cc2acb9765" providerId="ADAL" clId="{14C079B1-3763-444B-B216-374EF69EE7DF}" dt="2021-07-26T08:48:24.199" v="23335"/>
          <ac:spMkLst>
            <pc:docMk/>
            <pc:sldMk cId="1121314240" sldId="335"/>
            <ac:spMk id="259" creationId="{33518107-F264-42AA-8754-34A8FDD5CABD}"/>
          </ac:spMkLst>
        </pc:spChg>
        <pc:spChg chg="add del mod ord">
          <ac:chgData name="Wang, David" userId="5ba1598c-ec07-46f3-a0aa-a1cc2acb9765" providerId="ADAL" clId="{14C079B1-3763-444B-B216-374EF69EE7DF}" dt="2021-07-26T06:20:11.473" v="6536"/>
          <ac:spMkLst>
            <pc:docMk/>
            <pc:sldMk cId="1121314240" sldId="335"/>
            <ac:spMk id="260" creationId="{F1D53632-3153-4CF7-B84E-FF11B4E576A2}"/>
          </ac:spMkLst>
        </pc:spChg>
        <pc:spChg chg="add del mod ord">
          <ac:chgData name="Wang, David" userId="5ba1598c-ec07-46f3-a0aa-a1cc2acb9765" providerId="ADAL" clId="{14C079B1-3763-444B-B216-374EF69EE7DF}" dt="2021-07-26T06:19:59.502" v="6166"/>
          <ac:spMkLst>
            <pc:docMk/>
            <pc:sldMk cId="1121314240" sldId="335"/>
            <ac:spMk id="261" creationId="{F35D7873-8F51-4D05-9D37-9F2D5A60423B}"/>
          </ac:spMkLst>
        </pc:spChg>
        <pc:spChg chg="add del mod ord">
          <ac:chgData name="Wang, David" userId="5ba1598c-ec07-46f3-a0aa-a1cc2acb9765" providerId="ADAL" clId="{14C079B1-3763-444B-B216-374EF69EE7DF}" dt="2021-07-26T06:20:14.832" v="6574"/>
          <ac:spMkLst>
            <pc:docMk/>
            <pc:sldMk cId="1121314240" sldId="335"/>
            <ac:spMk id="262" creationId="{E0BF5D47-9719-4AB2-99CD-0F2EE326E847}"/>
          </ac:spMkLst>
        </pc:spChg>
        <pc:spChg chg="add mod">
          <ac:chgData name="Wang, David" userId="5ba1598c-ec07-46f3-a0aa-a1cc2acb9765" providerId="ADAL" clId="{14C079B1-3763-444B-B216-374EF69EE7DF}" dt="2021-07-26T08:48:24.199" v="23337"/>
          <ac:spMkLst>
            <pc:docMk/>
            <pc:sldMk cId="1121314240" sldId="335"/>
            <ac:spMk id="263" creationId="{9FCF0DD1-0DDB-4AE7-87F5-4D48CCEE7AD1}"/>
          </ac:spMkLst>
        </pc:spChg>
        <pc:spChg chg="add del mod ord">
          <ac:chgData name="Wang, David" userId="5ba1598c-ec07-46f3-a0aa-a1cc2acb9765" providerId="ADAL" clId="{14C079B1-3763-444B-B216-374EF69EE7DF}" dt="2021-07-26T06:20:17.842" v="6725"/>
          <ac:spMkLst>
            <pc:docMk/>
            <pc:sldMk cId="1121314240" sldId="335"/>
            <ac:spMk id="264" creationId="{8FB41981-3B04-46DB-A308-4816A34C8258}"/>
          </ac:spMkLst>
        </pc:spChg>
        <pc:spChg chg="add mod">
          <ac:chgData name="Wang, David" userId="5ba1598c-ec07-46f3-a0aa-a1cc2acb9765" providerId="ADAL" clId="{14C079B1-3763-444B-B216-374EF69EE7DF}" dt="2021-07-26T08:48:24.199" v="23334"/>
          <ac:spMkLst>
            <pc:docMk/>
            <pc:sldMk cId="1121314240" sldId="335"/>
            <ac:spMk id="265" creationId="{AAA72468-39D3-4934-8A8F-79EBBA417D58}"/>
          </ac:spMkLst>
        </pc:spChg>
        <pc:spChg chg="add mod ord">
          <ac:chgData name="Wang, David" userId="5ba1598c-ec07-46f3-a0aa-a1cc2acb9765" providerId="ADAL" clId="{14C079B1-3763-444B-B216-374EF69EE7DF}" dt="2021-07-26T08:48:24.215" v="23347" actId="948"/>
          <ac:spMkLst>
            <pc:docMk/>
            <pc:sldMk cId="1121314240" sldId="335"/>
            <ac:spMk id="266" creationId="{80BFE026-1DF7-4FD9-BDE9-02BEB8BC6BC6}"/>
          </ac:spMkLst>
        </pc:spChg>
        <pc:spChg chg="add mod ord">
          <ac:chgData name="Wang, David" userId="5ba1598c-ec07-46f3-a0aa-a1cc2acb9765" providerId="ADAL" clId="{14C079B1-3763-444B-B216-374EF69EE7DF}" dt="2021-07-26T08:48:24.231" v="23353" actId="948"/>
          <ac:spMkLst>
            <pc:docMk/>
            <pc:sldMk cId="1121314240" sldId="335"/>
            <ac:spMk id="267" creationId="{9EC3B7E3-76FF-4333-8D24-FBA60F55654C}"/>
          </ac:spMkLst>
        </pc:spChg>
        <pc:spChg chg="add mod">
          <ac:chgData name="Wang, David" userId="5ba1598c-ec07-46f3-a0aa-a1cc2acb9765" providerId="ADAL" clId="{14C079B1-3763-444B-B216-374EF69EE7DF}" dt="2021-07-26T08:48:24.199" v="23340"/>
          <ac:spMkLst>
            <pc:docMk/>
            <pc:sldMk cId="1121314240" sldId="335"/>
            <ac:spMk id="268" creationId="{FBC089D4-F0B3-4F8E-89C1-08D531098B84}"/>
          </ac:spMkLst>
        </pc:spChg>
        <pc:spChg chg="add del mod modVis">
          <ac:chgData name="Wang, David" userId="5ba1598c-ec07-46f3-a0aa-a1cc2acb9765" providerId="ADAL" clId="{14C079B1-3763-444B-B216-374EF69EE7DF}" dt="2021-07-26T06:19:45.947" v="5371"/>
          <ac:spMkLst>
            <pc:docMk/>
            <pc:sldMk cId="1121314240" sldId="335"/>
            <ac:spMk id="269" creationId="{C3FDC79A-49EB-48ED-9708-5EA59052744C}"/>
          </ac:spMkLst>
        </pc:spChg>
        <pc:spChg chg="add del mod ord modVis">
          <ac:chgData name="Wang, David" userId="5ba1598c-ec07-46f3-a0aa-a1cc2acb9765" providerId="ADAL" clId="{14C079B1-3763-444B-B216-374EF69EE7DF}" dt="2021-07-26T06:21:56.038" v="8186" actId="962"/>
          <ac:spMkLst>
            <pc:docMk/>
            <pc:sldMk cId="1121314240" sldId="335"/>
            <ac:spMk id="270" creationId="{A97D3A6F-B97C-49DE-8F04-5DB64D4B7347}"/>
          </ac:spMkLst>
        </pc:spChg>
        <pc:spChg chg="add mod">
          <ac:chgData name="Wang, David" userId="5ba1598c-ec07-46f3-a0aa-a1cc2acb9765" providerId="ADAL" clId="{14C079B1-3763-444B-B216-374EF69EE7DF}" dt="2021-07-26T06:21:55.769" v="8081" actId="207"/>
          <ac:spMkLst>
            <pc:docMk/>
            <pc:sldMk cId="1121314240" sldId="335"/>
            <ac:spMk id="271" creationId="{C7C3BBB4-43D7-43AC-9D20-63CD5E7CC9D0}"/>
          </ac:spMkLst>
        </pc:spChg>
        <pc:spChg chg="add del mod modVis">
          <ac:chgData name="Wang, David" userId="5ba1598c-ec07-46f3-a0aa-a1cc2acb9765" providerId="ADAL" clId="{14C079B1-3763-444B-B216-374EF69EE7DF}" dt="2021-07-26T06:22:00.748" v="8390"/>
          <ac:spMkLst>
            <pc:docMk/>
            <pc:sldMk cId="1121314240" sldId="335"/>
            <ac:spMk id="272" creationId="{E7EC186F-BC27-484C-A962-AB6D6B8B8EA8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73" creationId="{C9FBE61D-9AB3-4CAB-9505-523A25A1BCE4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74" creationId="{8C81A755-BCD6-41FC-9504-7A50A271EC3D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75" creationId="{06615DB2-79C6-49EE-9211-E2D0B45C4363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76" creationId="{DA176CE4-8F69-441C-9BC2-8749C34B6914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77" creationId="{B97E7025-B05D-4639-B9F0-F32B29B95031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78" creationId="{A61B5A11-8C86-46EA-A794-AF0F6DFDAA84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79" creationId="{AB4E72E8-BAB9-41FD-AD48-E5CE84A3BB8D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80" creationId="{37A13764-40A0-4079-985A-3C537386B6D3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81" creationId="{AFBA2E8F-18B2-4195-B3DB-4ADA779790F4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82" creationId="{0FACA908-BA18-47FE-9104-564B14A35A4E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83" creationId="{85877D33-B222-463A-9EBA-8E90A772A7C5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84" creationId="{70A61EBC-C5C4-4D18-B1D2-345B2F1722E2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285" creationId="{5A2F6983-4789-4C3B-9440-3EC176EF4DDB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03" creationId="{97497638-42B3-4687-93C9-3DF2AA79F1A0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04" creationId="{B982FFAF-1131-400E-B956-321C0F143802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05" creationId="{DD875EBF-23F4-48C9-B2F4-47FE1E4BEB9B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06" creationId="{4806A098-BBBE-4D7E-983E-E3F3C55AC53E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07" creationId="{ACB3AF61-B85C-473C-997B-BE5D176D11E6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08" creationId="{18CDEB52-F333-4A1C-83DA-6927DCA1C8CC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09" creationId="{F238A24E-E64B-4BF3-9B92-466BA8415942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0" creationId="{C363FBA8-7326-45D9-A50F-588CCC375770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1" creationId="{D68003A4-97C8-4B52-8756-9FAC1B095179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2" creationId="{1C73E989-FF47-4959-883F-F456F29F716D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3" creationId="{7A45297B-29BB-46E4-9156-C5BEFFDBA966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4" creationId="{BF97DD54-A46E-431E-B631-9281A95A01E1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5" creationId="{63BA9A68-34FF-41C4-93A4-89AD1E2C70B7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6" creationId="{86ECA95F-4256-480F-907B-3D9FC40CEB3B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7" creationId="{B8E0CE67-5713-417A-8583-CF3D48C521B0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8" creationId="{705CFE7B-A61D-48D4-84D0-872CC4ECE301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19" creationId="{D56B9580-DC8A-400D-974F-09F8A37D86F3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0" creationId="{3A239A0D-E0E2-4811-B205-230DAB3582C6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1" creationId="{5D19B9AF-3870-45B4-BDBA-223A47EDC307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2" creationId="{99C334B4-04A3-47AB-A7D5-31797D28844B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3" creationId="{44D76865-D737-4DDB-933E-069B44626790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4" creationId="{3E997730-E987-482E-94EE-112F6CD259AB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5" creationId="{834C77AB-7D8E-43B1-97A9-317CAFD16BA6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6" creationId="{CA29DD8D-FBD6-4B2F-865F-ADBACC37F546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7" creationId="{87D2C72A-9359-4376-AE47-3CB482E8A1D2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8" creationId="{8EF83A71-CD00-4DC2-B788-96247D819CB8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29" creationId="{36B8B17E-AFFE-4B61-B076-9DCB5BE98D79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30" creationId="{91CFEBEF-99B7-45AF-B5D7-EF25236D1030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31" creationId="{A0381A10-5A20-4762-BBA2-222315A1D93D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32" creationId="{07DC4788-DE2E-4D15-A0C8-89860CAD57E7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33" creationId="{4EE313A0-20E8-43CF-9AFA-67242A9830E2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34" creationId="{ED99C334-9DB1-4BED-9582-41542ADDCB68}"/>
          </ac:spMkLst>
        </pc:spChg>
        <pc:spChg chg="add del mod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35" creationId="{FF7EEE9F-E9BB-4E21-8C56-59A0D2152FF9}"/>
          </ac:spMkLst>
        </pc:spChg>
        <pc:spChg chg="add del mod modVis">
          <ac:chgData name="Wang, David" userId="5ba1598c-ec07-46f3-a0aa-a1cc2acb9765" providerId="ADAL" clId="{14C079B1-3763-444B-B216-374EF69EE7DF}" dt="2021-07-26T06:22:38.171" v="9312"/>
          <ac:spMkLst>
            <pc:docMk/>
            <pc:sldMk cId="1121314240" sldId="335"/>
            <ac:spMk id="336" creationId="{83EC2BFE-930D-4F33-939E-57BC482AE69B}"/>
          </ac:spMkLst>
        </pc:spChg>
        <pc:spChg chg="add del mod ord modVis">
          <ac:chgData name="Wang, David" userId="5ba1598c-ec07-46f3-a0aa-a1cc2acb9765" providerId="ADAL" clId="{14C079B1-3763-444B-B216-374EF69EE7DF}" dt="2021-07-26T06:22:49.361" v="9617"/>
          <ac:spMkLst>
            <pc:docMk/>
            <pc:sldMk cId="1121314240" sldId="335"/>
            <ac:spMk id="337" creationId="{4F55DB95-6893-4FF1-A05B-6F5EA9F4B622}"/>
          </ac:spMkLst>
        </pc:spChg>
        <pc:spChg chg="add mod">
          <ac:chgData name="Wang, David" userId="5ba1598c-ec07-46f3-a0aa-a1cc2acb9765" providerId="ADAL" clId="{14C079B1-3763-444B-B216-374EF69EE7DF}" dt="2021-07-26T08:48:24.199" v="23338"/>
          <ac:spMkLst>
            <pc:docMk/>
            <pc:sldMk cId="1121314240" sldId="335"/>
            <ac:spMk id="339" creationId="{D9F7A9E1-3F9C-4A03-AAA3-747684AF22E3}"/>
          </ac:spMkLst>
        </pc:spChg>
        <pc:spChg chg="add del mod ord modVis">
          <ac:chgData name="Wang, David" userId="5ba1598c-ec07-46f3-a0aa-a1cc2acb9765" providerId="ADAL" clId="{14C079B1-3763-444B-B216-374EF69EE7DF}" dt="2021-07-26T06:23:14.768" v="9796"/>
          <ac:spMkLst>
            <pc:docMk/>
            <pc:sldMk cId="1121314240" sldId="335"/>
            <ac:spMk id="340" creationId="{8F34C1EA-CEB4-4764-B5A2-B93BDBEE4CFA}"/>
          </ac:spMkLst>
        </pc:spChg>
        <pc:spChg chg="add mod">
          <ac:chgData name="Wang, David" userId="5ba1598c-ec07-46f3-a0aa-a1cc2acb9765" providerId="ADAL" clId="{14C079B1-3763-444B-B216-374EF69EE7DF}" dt="2021-07-26T08:48:24.284" v="23365"/>
          <ac:spMkLst>
            <pc:docMk/>
            <pc:sldMk cId="1121314240" sldId="335"/>
            <ac:spMk id="342" creationId="{0F467244-CA7A-4A24-877B-396FA84F1C88}"/>
          </ac:spMkLst>
        </pc:spChg>
        <pc:spChg chg="add del mod ord modVis">
          <ac:chgData name="Wang, David" userId="5ba1598c-ec07-46f3-a0aa-a1cc2acb9765" providerId="ADAL" clId="{14C079B1-3763-444B-B216-374EF69EE7DF}" dt="2021-07-26T06:23:32.559" v="10294"/>
          <ac:spMkLst>
            <pc:docMk/>
            <pc:sldMk cId="1121314240" sldId="335"/>
            <ac:spMk id="343" creationId="{637CB8DF-C3C1-45A8-9BF8-7FB79953F6B4}"/>
          </ac:spMkLst>
        </pc:spChg>
        <pc:spChg chg="add del mod modVis">
          <ac:chgData name="Wang, David" userId="5ba1598c-ec07-46f3-a0aa-a1cc2acb9765" providerId="ADAL" clId="{14C079B1-3763-444B-B216-374EF69EE7DF}" dt="2021-07-26T06:28:06.540" v="10616"/>
          <ac:spMkLst>
            <pc:docMk/>
            <pc:sldMk cId="1121314240" sldId="335"/>
            <ac:spMk id="347" creationId="{E66BD254-559B-438F-8653-A95E79EC8CA8}"/>
          </ac:spMkLst>
        </pc:spChg>
        <pc:spChg chg="add del mod modVis">
          <ac:chgData name="Wang, David" userId="5ba1598c-ec07-46f3-a0aa-a1cc2acb9765" providerId="ADAL" clId="{14C079B1-3763-444B-B216-374EF69EE7DF}" dt="2021-07-26T06:29:01.568" v="11470" actId="962"/>
          <ac:spMkLst>
            <pc:docMk/>
            <pc:sldMk cId="1121314240" sldId="335"/>
            <ac:spMk id="348" creationId="{D523142B-F49C-4895-A7C8-0E21B1C06EF0}"/>
          </ac:spMkLst>
        </pc:spChg>
        <pc:spChg chg="add mod">
          <ac:chgData name="Wang, David" userId="5ba1598c-ec07-46f3-a0aa-a1cc2acb9765" providerId="ADAL" clId="{14C079B1-3763-444B-B216-374EF69EE7DF}" dt="2021-07-26T06:28:43.813" v="11161"/>
          <ac:spMkLst>
            <pc:docMk/>
            <pc:sldMk cId="1121314240" sldId="335"/>
            <ac:spMk id="349" creationId="{2AEF1918-120E-4E7F-915B-BB73E54C1492}"/>
          </ac:spMkLst>
        </pc:spChg>
        <pc:spChg chg="add del mod ord modVis">
          <ac:chgData name="Wang, David" userId="5ba1598c-ec07-46f3-a0aa-a1cc2acb9765" providerId="ADAL" clId="{14C079B1-3763-444B-B216-374EF69EE7DF}" dt="2021-07-26T06:29:01.151" v="11417" actId="962"/>
          <ac:spMkLst>
            <pc:docMk/>
            <pc:sldMk cId="1121314240" sldId="335"/>
            <ac:spMk id="350" creationId="{8A8BB055-B92B-4474-A3E1-330BC1E69F03}"/>
          </ac:spMkLst>
        </pc:spChg>
        <pc:spChg chg="add mod">
          <ac:chgData name="Wang, David" userId="5ba1598c-ec07-46f3-a0aa-a1cc2acb9765" providerId="ADAL" clId="{14C079B1-3763-444B-B216-374EF69EE7DF}" dt="2021-07-26T06:28:43.813" v="11162"/>
          <ac:spMkLst>
            <pc:docMk/>
            <pc:sldMk cId="1121314240" sldId="335"/>
            <ac:spMk id="351" creationId="{E9AA9D04-F3DF-4FF5-92BE-B5EE7A4743F3}"/>
          </ac:spMkLst>
        </pc:spChg>
        <pc:spChg chg="add mod ord">
          <ac:chgData name="Wang, David" userId="5ba1598c-ec07-46f3-a0aa-a1cc2acb9765" providerId="ADAL" clId="{14C079B1-3763-444B-B216-374EF69EE7DF}" dt="2021-07-26T06:29:01.051" v="11373" actId="20577"/>
          <ac:spMkLst>
            <pc:docMk/>
            <pc:sldMk cId="1121314240" sldId="335"/>
            <ac:spMk id="352" creationId="{0CFAC5D8-23DF-4482-88BF-57BA4E399432}"/>
          </ac:spMkLst>
        </pc:spChg>
        <pc:spChg chg="add mod ord">
          <ac:chgData name="Wang, David" userId="5ba1598c-ec07-46f3-a0aa-a1cc2acb9765" providerId="ADAL" clId="{14C079B1-3763-444B-B216-374EF69EE7DF}" dt="2021-07-26T06:29:00.913" v="11316" actId="207"/>
          <ac:spMkLst>
            <pc:docMk/>
            <pc:sldMk cId="1121314240" sldId="335"/>
            <ac:spMk id="353" creationId="{D59E9E6F-FB83-429C-B3C7-C16CE2F8CDF5}"/>
          </ac:spMkLst>
        </pc:spChg>
        <pc:spChg chg="add del mod modVis">
          <ac:chgData name="Wang, David" userId="5ba1598c-ec07-46f3-a0aa-a1cc2acb9765" providerId="ADAL" clId="{14C079B1-3763-444B-B216-374EF69EE7DF}" dt="2021-07-26T06:29:12.803" v="11807"/>
          <ac:spMkLst>
            <pc:docMk/>
            <pc:sldMk cId="1121314240" sldId="335"/>
            <ac:spMk id="356" creationId="{161CB5EF-C0EA-41BC-948E-9BA9DBD06762}"/>
          </ac:spMkLst>
        </pc:spChg>
        <pc:spChg chg="add mod ord">
          <ac:chgData name="Wang, David" userId="5ba1598c-ec07-46f3-a0aa-a1cc2acb9765" providerId="ADAL" clId="{14C079B1-3763-444B-B216-374EF69EE7DF}" dt="2021-07-26T08:37:32.204" v="12223" actId="207"/>
          <ac:spMkLst>
            <pc:docMk/>
            <pc:sldMk cId="1121314240" sldId="335"/>
            <ac:spMk id="357" creationId="{0AFCB45D-FD8A-489E-BB18-B0C803741156}"/>
          </ac:spMkLst>
        </pc:spChg>
        <pc:spChg chg="add mod ord">
          <ac:chgData name="Wang, David" userId="5ba1598c-ec07-46f3-a0aa-a1cc2acb9765" providerId="ADAL" clId="{14C079B1-3763-444B-B216-374EF69EE7DF}" dt="2021-07-26T08:48:24.215" v="23348" actId="948"/>
          <ac:spMkLst>
            <pc:docMk/>
            <pc:sldMk cId="1121314240" sldId="335"/>
            <ac:spMk id="358" creationId="{9952AE17-D2F9-4865-9822-EF61B3E9BDC3}"/>
          </ac:spMkLst>
        </pc:spChg>
        <pc:spChg chg="add del mod ord modVis">
          <ac:chgData name="Wang, David" userId="5ba1598c-ec07-46f3-a0aa-a1cc2acb9765" providerId="ADAL" clId="{14C079B1-3763-444B-B216-374EF69EE7DF}" dt="2021-07-26T08:37:40.811" v="12559"/>
          <ac:spMkLst>
            <pc:docMk/>
            <pc:sldMk cId="1121314240" sldId="335"/>
            <ac:spMk id="359" creationId="{3ACB1A8B-0A7D-47D3-9B6E-A6FC98BB6F73}"/>
          </ac:spMkLst>
        </pc:spChg>
        <pc:spChg chg="add del mod modVis">
          <ac:chgData name="Wang, David" userId="5ba1598c-ec07-46f3-a0aa-a1cc2acb9765" providerId="ADAL" clId="{14C079B1-3763-444B-B216-374EF69EE7DF}" dt="2021-07-26T08:37:46.473" v="12695"/>
          <ac:spMkLst>
            <pc:docMk/>
            <pc:sldMk cId="1121314240" sldId="335"/>
            <ac:spMk id="360" creationId="{949EA112-A09D-4F4D-B4C1-01A91038EC77}"/>
          </ac:spMkLst>
        </pc:spChg>
        <pc:spChg chg="add del mod modVis">
          <ac:chgData name="Wang, David" userId="5ba1598c-ec07-46f3-a0aa-a1cc2acb9765" providerId="ADAL" clId="{14C079B1-3763-444B-B216-374EF69EE7DF}" dt="2021-07-26T08:37:49.566" v="12806"/>
          <ac:spMkLst>
            <pc:docMk/>
            <pc:sldMk cId="1121314240" sldId="335"/>
            <ac:spMk id="361" creationId="{3DA6F5C4-DEAD-420A-895B-32DC10B36983}"/>
          </ac:spMkLst>
        </pc:spChg>
        <pc:spChg chg="add del mod modVis">
          <ac:chgData name="Wang, David" userId="5ba1598c-ec07-46f3-a0aa-a1cc2acb9765" providerId="ADAL" clId="{14C079B1-3763-444B-B216-374EF69EE7DF}" dt="2021-07-26T08:37:52.579" v="12889"/>
          <ac:spMkLst>
            <pc:docMk/>
            <pc:sldMk cId="1121314240" sldId="335"/>
            <ac:spMk id="362" creationId="{0A849EBF-A844-4A6D-AA7A-D9E64395EC5D}"/>
          </ac:spMkLst>
        </pc:spChg>
        <pc:spChg chg="add del mod modVis">
          <ac:chgData name="Wang, David" userId="5ba1598c-ec07-46f3-a0aa-a1cc2acb9765" providerId="ADAL" clId="{14C079B1-3763-444B-B216-374EF69EE7DF}" dt="2021-07-26T08:38:12.545" v="13035"/>
          <ac:spMkLst>
            <pc:docMk/>
            <pc:sldMk cId="1121314240" sldId="335"/>
            <ac:spMk id="363" creationId="{AFFE18B5-C414-4536-B607-1804F2FA4A60}"/>
          </ac:spMkLst>
        </pc:spChg>
        <pc:spChg chg="add del mod modVis">
          <ac:chgData name="Wang, David" userId="5ba1598c-ec07-46f3-a0aa-a1cc2acb9765" providerId="ADAL" clId="{14C079B1-3763-444B-B216-374EF69EE7DF}" dt="2021-07-26T08:38:15.858" v="13118"/>
          <ac:spMkLst>
            <pc:docMk/>
            <pc:sldMk cId="1121314240" sldId="335"/>
            <ac:spMk id="364" creationId="{A55AF9A2-347C-4C59-8E46-126CB788EBAE}"/>
          </ac:spMkLst>
        </pc:spChg>
        <pc:spChg chg="add del mod modVis">
          <ac:chgData name="Wang, David" userId="5ba1598c-ec07-46f3-a0aa-a1cc2acb9765" providerId="ADAL" clId="{14C079B1-3763-444B-B216-374EF69EE7DF}" dt="2021-07-26T08:38:17.124" v="13193"/>
          <ac:spMkLst>
            <pc:docMk/>
            <pc:sldMk cId="1121314240" sldId="335"/>
            <ac:spMk id="365" creationId="{0134E99C-E13A-454A-A794-68E0F486B8CB}"/>
          </ac:spMkLst>
        </pc:spChg>
        <pc:spChg chg="add mod ord">
          <ac:chgData name="Wang, David" userId="5ba1598c-ec07-46f3-a0aa-a1cc2acb9765" providerId="ADAL" clId="{14C079B1-3763-444B-B216-374EF69EE7DF}" dt="2021-07-26T08:48:24.231" v="23349" actId="948"/>
          <ac:spMkLst>
            <pc:docMk/>
            <pc:sldMk cId="1121314240" sldId="335"/>
            <ac:spMk id="366" creationId="{304C8112-65EE-4A21-A6CE-442018859988}"/>
          </ac:spMkLst>
        </pc:spChg>
        <pc:spChg chg="add del mod modVis">
          <ac:chgData name="Wang, David" userId="5ba1598c-ec07-46f3-a0aa-a1cc2acb9765" providerId="ADAL" clId="{14C079B1-3763-444B-B216-374EF69EE7DF}" dt="2021-07-26T08:38:50.990" v="13888"/>
          <ac:spMkLst>
            <pc:docMk/>
            <pc:sldMk cId="1121314240" sldId="335"/>
            <ac:spMk id="367" creationId="{B429176F-F743-4B6D-BC51-B67C8A9282DF}"/>
          </ac:spMkLst>
        </pc:spChg>
        <pc:spChg chg="add del mod modVis">
          <ac:chgData name="Wang, David" userId="5ba1598c-ec07-46f3-a0aa-a1cc2acb9765" providerId="ADAL" clId="{14C079B1-3763-444B-B216-374EF69EE7DF}" dt="2021-07-26T08:38:55.440" v="14088"/>
          <ac:spMkLst>
            <pc:docMk/>
            <pc:sldMk cId="1121314240" sldId="335"/>
            <ac:spMk id="368" creationId="{0AC1A5A3-B09A-454F-8988-CDEC1EA59A5D}"/>
          </ac:spMkLst>
        </pc:spChg>
        <pc:spChg chg="add del mod modVis">
          <ac:chgData name="Wang, David" userId="5ba1598c-ec07-46f3-a0aa-a1cc2acb9765" providerId="ADAL" clId="{14C079B1-3763-444B-B216-374EF69EE7DF}" dt="2021-07-26T08:39:01.560" v="14163"/>
          <ac:spMkLst>
            <pc:docMk/>
            <pc:sldMk cId="1121314240" sldId="335"/>
            <ac:spMk id="369" creationId="{927EFDFB-E225-4FC9-9D16-57E1FEF7967D}"/>
          </ac:spMkLst>
        </pc:spChg>
        <pc:spChg chg="add del mod modVis">
          <ac:chgData name="Wang, David" userId="5ba1598c-ec07-46f3-a0aa-a1cc2acb9765" providerId="ADAL" clId="{14C079B1-3763-444B-B216-374EF69EE7DF}" dt="2021-07-26T08:39:02.509" v="14236"/>
          <ac:spMkLst>
            <pc:docMk/>
            <pc:sldMk cId="1121314240" sldId="335"/>
            <ac:spMk id="370" creationId="{476A0BE9-F7B6-4EF8-9E82-52AAEDB05D92}"/>
          </ac:spMkLst>
        </pc:spChg>
        <pc:spChg chg="add del mod modVis">
          <ac:chgData name="Wang, David" userId="5ba1598c-ec07-46f3-a0aa-a1cc2acb9765" providerId="ADAL" clId="{14C079B1-3763-444B-B216-374EF69EE7DF}" dt="2021-07-26T08:39:03.241" v="14309"/>
          <ac:spMkLst>
            <pc:docMk/>
            <pc:sldMk cId="1121314240" sldId="335"/>
            <ac:spMk id="371" creationId="{A4BF1BEF-627D-458D-99C4-ED02EE3C9564}"/>
          </ac:spMkLst>
        </pc:spChg>
        <pc:spChg chg="add mod ord">
          <ac:chgData name="Wang, David" userId="5ba1598c-ec07-46f3-a0aa-a1cc2acb9765" providerId="ADAL" clId="{14C079B1-3763-444B-B216-374EF69EE7DF}" dt="2021-07-26T08:48:24.231" v="23355" actId="948"/>
          <ac:spMkLst>
            <pc:docMk/>
            <pc:sldMk cId="1121314240" sldId="335"/>
            <ac:spMk id="372" creationId="{EFA36435-5380-4C48-991C-AE7B756BC452}"/>
          </ac:spMkLst>
        </pc:spChg>
        <pc:spChg chg="add del mod modVis">
          <ac:chgData name="Wang, David" userId="5ba1598c-ec07-46f3-a0aa-a1cc2acb9765" providerId="ADAL" clId="{14C079B1-3763-444B-B216-374EF69EE7DF}" dt="2021-07-26T08:39:57.948" v="14671"/>
          <ac:spMkLst>
            <pc:docMk/>
            <pc:sldMk cId="1121314240" sldId="335"/>
            <ac:spMk id="373" creationId="{D47BCC37-9967-49F6-923A-B0C0D4AE9158}"/>
          </ac:spMkLst>
        </pc:spChg>
        <pc:spChg chg="add del mod modVis">
          <ac:chgData name="Wang, David" userId="5ba1598c-ec07-46f3-a0aa-a1cc2acb9765" providerId="ADAL" clId="{14C079B1-3763-444B-B216-374EF69EE7DF}" dt="2021-07-26T08:40:03.613" v="14868"/>
          <ac:spMkLst>
            <pc:docMk/>
            <pc:sldMk cId="1121314240" sldId="335"/>
            <ac:spMk id="374" creationId="{6A943D05-7399-4F1D-8ABE-29BB0DAED46C}"/>
          </ac:spMkLst>
        </pc:spChg>
        <pc:spChg chg="add del mod modVis">
          <ac:chgData name="Wang, David" userId="5ba1598c-ec07-46f3-a0aa-a1cc2acb9765" providerId="ADAL" clId="{14C079B1-3763-444B-B216-374EF69EE7DF}" dt="2021-07-26T08:40:06.304" v="14942"/>
          <ac:spMkLst>
            <pc:docMk/>
            <pc:sldMk cId="1121314240" sldId="335"/>
            <ac:spMk id="375" creationId="{941F3470-36E2-4852-A053-8C2586EEE704}"/>
          </ac:spMkLst>
        </pc:spChg>
        <pc:spChg chg="add del mod modVis">
          <ac:chgData name="Wang, David" userId="5ba1598c-ec07-46f3-a0aa-a1cc2acb9765" providerId="ADAL" clId="{14C079B1-3763-444B-B216-374EF69EE7DF}" dt="2021-07-26T08:40:07.244" v="15016"/>
          <ac:spMkLst>
            <pc:docMk/>
            <pc:sldMk cId="1121314240" sldId="335"/>
            <ac:spMk id="376" creationId="{CE49792E-92FE-4817-B6A5-F9D1D2C37C34}"/>
          </ac:spMkLst>
        </pc:spChg>
        <pc:spChg chg="add del mod modVis">
          <ac:chgData name="Wang, David" userId="5ba1598c-ec07-46f3-a0aa-a1cc2acb9765" providerId="ADAL" clId="{14C079B1-3763-444B-B216-374EF69EE7DF}" dt="2021-07-26T08:40:11.753" v="15097"/>
          <ac:spMkLst>
            <pc:docMk/>
            <pc:sldMk cId="1121314240" sldId="335"/>
            <ac:spMk id="377" creationId="{A875DE5D-908C-493C-B2BD-5701D9E1156C}"/>
          </ac:spMkLst>
        </pc:spChg>
        <pc:spChg chg="add del mod ord">
          <ac:chgData name="Wang, David" userId="5ba1598c-ec07-46f3-a0aa-a1cc2acb9765" providerId="ADAL" clId="{14C079B1-3763-444B-B216-374EF69EE7DF}" dt="2021-07-26T08:43:20.473" v="17365"/>
          <ac:spMkLst>
            <pc:docMk/>
            <pc:sldMk cId="1121314240" sldId="335"/>
            <ac:spMk id="378" creationId="{3300C18C-9F68-437F-AD17-0773A57CB7D6}"/>
          </ac:spMkLst>
        </pc:spChg>
        <pc:spChg chg="add del mod modVis">
          <ac:chgData name="Wang, David" userId="5ba1598c-ec07-46f3-a0aa-a1cc2acb9765" providerId="ADAL" clId="{14C079B1-3763-444B-B216-374EF69EE7DF}" dt="2021-07-26T08:40:58.166" v="15511"/>
          <ac:spMkLst>
            <pc:docMk/>
            <pc:sldMk cId="1121314240" sldId="335"/>
            <ac:spMk id="379" creationId="{81C3F5BB-480D-4315-B29B-D49DA83B551C}"/>
          </ac:spMkLst>
        </pc:spChg>
        <pc:spChg chg="add del mod modVis">
          <ac:chgData name="Wang, David" userId="5ba1598c-ec07-46f3-a0aa-a1cc2acb9765" providerId="ADAL" clId="{14C079B1-3763-444B-B216-374EF69EE7DF}" dt="2021-07-26T08:41:02.908" v="15707"/>
          <ac:spMkLst>
            <pc:docMk/>
            <pc:sldMk cId="1121314240" sldId="335"/>
            <ac:spMk id="380" creationId="{E2E2A396-6621-41BE-BC46-9B3C531B8AAE}"/>
          </ac:spMkLst>
        </pc:spChg>
        <pc:spChg chg="add del mod modVis">
          <ac:chgData name="Wang, David" userId="5ba1598c-ec07-46f3-a0aa-a1cc2acb9765" providerId="ADAL" clId="{14C079B1-3763-444B-B216-374EF69EE7DF}" dt="2021-07-26T08:41:03.625" v="15782"/>
          <ac:spMkLst>
            <pc:docMk/>
            <pc:sldMk cId="1121314240" sldId="335"/>
            <ac:spMk id="381" creationId="{B81E7E50-5FB7-41CF-9FDB-B77F32F9FE2D}"/>
          </ac:spMkLst>
        </pc:spChg>
        <pc:spChg chg="add del mod modVis">
          <ac:chgData name="Wang, David" userId="5ba1598c-ec07-46f3-a0aa-a1cc2acb9765" providerId="ADAL" clId="{14C079B1-3763-444B-B216-374EF69EE7DF}" dt="2021-07-26T08:41:04.669" v="15856"/>
          <ac:spMkLst>
            <pc:docMk/>
            <pc:sldMk cId="1121314240" sldId="335"/>
            <ac:spMk id="382" creationId="{0FEE7F2D-2109-478E-94CC-2A3532FEF677}"/>
          </ac:spMkLst>
        </pc:spChg>
        <pc:spChg chg="add del mod modVis">
          <ac:chgData name="Wang, David" userId="5ba1598c-ec07-46f3-a0aa-a1cc2acb9765" providerId="ADAL" clId="{14C079B1-3763-444B-B216-374EF69EE7DF}" dt="2021-07-26T08:41:05.388" v="15930"/>
          <ac:spMkLst>
            <pc:docMk/>
            <pc:sldMk cId="1121314240" sldId="335"/>
            <ac:spMk id="383" creationId="{2EF586A3-8B50-4905-AA31-3DF48B120295}"/>
          </ac:spMkLst>
        </pc:spChg>
        <pc:spChg chg="add del mod modVis">
          <ac:chgData name="Wang, David" userId="5ba1598c-ec07-46f3-a0aa-a1cc2acb9765" providerId="ADAL" clId="{14C079B1-3763-444B-B216-374EF69EE7DF}" dt="2021-07-26T08:41:14.540" v="16019"/>
          <ac:spMkLst>
            <pc:docMk/>
            <pc:sldMk cId="1121314240" sldId="335"/>
            <ac:spMk id="384" creationId="{A12170F8-63EE-4831-BF4A-D94A9078BFC1}"/>
          </ac:spMkLst>
        </pc:spChg>
        <pc:spChg chg="add mod ord">
          <ac:chgData name="Wang, David" userId="5ba1598c-ec07-46f3-a0aa-a1cc2acb9765" providerId="ADAL" clId="{14C079B1-3763-444B-B216-374EF69EE7DF}" dt="2021-07-26T08:48:24.231" v="23356" actId="948"/>
          <ac:spMkLst>
            <pc:docMk/>
            <pc:sldMk cId="1121314240" sldId="335"/>
            <ac:spMk id="385" creationId="{C635D15A-8594-457E-993E-C32D27375C5C}"/>
          </ac:spMkLst>
        </pc:spChg>
        <pc:spChg chg="add del mod modVis">
          <ac:chgData name="Wang, David" userId="5ba1598c-ec07-46f3-a0aa-a1cc2acb9765" providerId="ADAL" clId="{14C079B1-3763-444B-B216-374EF69EE7DF}" dt="2021-07-26T08:41:33.401" v="16345"/>
          <ac:spMkLst>
            <pc:docMk/>
            <pc:sldMk cId="1121314240" sldId="335"/>
            <ac:spMk id="386" creationId="{EF1B61BD-A0D1-4C93-8AAD-BDF14712BFC7}"/>
          </ac:spMkLst>
        </pc:spChg>
        <pc:spChg chg="add del mod modVis">
          <ac:chgData name="Wang, David" userId="5ba1598c-ec07-46f3-a0aa-a1cc2acb9765" providerId="ADAL" clId="{14C079B1-3763-444B-B216-374EF69EE7DF}" dt="2021-07-26T08:41:39.822" v="16485"/>
          <ac:spMkLst>
            <pc:docMk/>
            <pc:sldMk cId="1121314240" sldId="335"/>
            <ac:spMk id="387" creationId="{0781E01E-B767-43D3-A258-19521D1488A9}"/>
          </ac:spMkLst>
        </pc:spChg>
        <pc:spChg chg="add mod ord">
          <ac:chgData name="Wang, David" userId="5ba1598c-ec07-46f3-a0aa-a1cc2acb9765" providerId="ADAL" clId="{14C079B1-3763-444B-B216-374EF69EE7DF}" dt="2021-07-26T08:48:24.231" v="23350" actId="948"/>
          <ac:spMkLst>
            <pc:docMk/>
            <pc:sldMk cId="1121314240" sldId="335"/>
            <ac:spMk id="388" creationId="{614E70ED-E711-438F-AB77-79B481F3DC7F}"/>
          </ac:spMkLst>
        </pc:spChg>
        <pc:spChg chg="add del mod modVis">
          <ac:chgData name="Wang, David" userId="5ba1598c-ec07-46f3-a0aa-a1cc2acb9765" providerId="ADAL" clId="{14C079B1-3763-444B-B216-374EF69EE7DF}" dt="2021-07-26T08:43:06.907" v="16935"/>
          <ac:spMkLst>
            <pc:docMk/>
            <pc:sldMk cId="1121314240" sldId="335"/>
            <ac:spMk id="389" creationId="{F14998F7-1CCC-42F7-B879-5ED09E6E0D50}"/>
          </ac:spMkLst>
        </pc:spChg>
        <pc:spChg chg="add del mod modVis">
          <ac:chgData name="Wang, David" userId="5ba1598c-ec07-46f3-a0aa-a1cc2acb9765" providerId="ADAL" clId="{14C079B1-3763-444B-B216-374EF69EE7DF}" dt="2021-07-26T08:43:14.229" v="17208"/>
          <ac:spMkLst>
            <pc:docMk/>
            <pc:sldMk cId="1121314240" sldId="335"/>
            <ac:spMk id="390" creationId="{1124F952-BF43-4B0E-8E3A-A662F3A1D632}"/>
          </ac:spMkLst>
        </pc:spChg>
        <pc:spChg chg="add del mod modVis">
          <ac:chgData name="Wang, David" userId="5ba1598c-ec07-46f3-a0aa-a1cc2acb9765" providerId="ADAL" clId="{14C079B1-3763-444B-B216-374EF69EE7DF}" dt="2021-07-26T08:43:15.966" v="17284"/>
          <ac:spMkLst>
            <pc:docMk/>
            <pc:sldMk cId="1121314240" sldId="335"/>
            <ac:spMk id="391" creationId="{0DC04916-0C7C-4003-8203-95C2E18ED900}"/>
          </ac:spMkLst>
        </pc:spChg>
        <pc:spChg chg="add del mod modVis">
          <ac:chgData name="Wang, David" userId="5ba1598c-ec07-46f3-a0aa-a1cc2acb9765" providerId="ADAL" clId="{14C079B1-3763-444B-B216-374EF69EE7DF}" dt="2021-07-26T08:43:17.302" v="17361"/>
          <ac:spMkLst>
            <pc:docMk/>
            <pc:sldMk cId="1121314240" sldId="335"/>
            <ac:spMk id="392" creationId="{2C9103E3-8A8E-4814-A5A6-1DAF276841ED}"/>
          </ac:spMkLst>
        </pc:spChg>
        <pc:spChg chg="add mod ord">
          <ac:chgData name="Wang, David" userId="5ba1598c-ec07-46f3-a0aa-a1cc2acb9765" providerId="ADAL" clId="{14C079B1-3763-444B-B216-374EF69EE7DF}" dt="2021-07-26T08:48:24.231" v="23352" actId="948"/>
          <ac:spMkLst>
            <pc:docMk/>
            <pc:sldMk cId="1121314240" sldId="335"/>
            <ac:spMk id="393" creationId="{51918F42-E326-44DF-89D3-607911A82439}"/>
          </ac:spMkLst>
        </pc:spChg>
        <pc:spChg chg="add del mod ord modVis">
          <ac:chgData name="Wang, David" userId="5ba1598c-ec07-46f3-a0aa-a1cc2acb9765" providerId="ADAL" clId="{14C079B1-3763-444B-B216-374EF69EE7DF}" dt="2021-07-26T08:43:26.646" v="17785"/>
          <ac:spMkLst>
            <pc:docMk/>
            <pc:sldMk cId="1121314240" sldId="335"/>
            <ac:spMk id="394" creationId="{91B2B73B-1B67-411C-9836-2F077644F8A8}"/>
          </ac:spMkLst>
        </pc:spChg>
        <pc:spChg chg="add mod ord">
          <ac:chgData name="Wang, David" userId="5ba1598c-ec07-46f3-a0aa-a1cc2acb9765" providerId="ADAL" clId="{14C079B1-3763-444B-B216-374EF69EE7DF}" dt="2021-07-26T08:47:54.219" v="22890"/>
          <ac:spMkLst>
            <pc:docMk/>
            <pc:sldMk cId="1121314240" sldId="335"/>
            <ac:spMk id="395" creationId="{7D596214-EDEE-40FE-8203-54A0F3DC0219}"/>
          </ac:spMkLst>
        </pc:spChg>
        <pc:spChg chg="add del mod modVis">
          <ac:chgData name="Wang, David" userId="5ba1598c-ec07-46f3-a0aa-a1cc2acb9765" providerId="ADAL" clId="{14C079B1-3763-444B-B216-374EF69EE7DF}" dt="2021-07-26T08:43:35.078" v="18009"/>
          <ac:spMkLst>
            <pc:docMk/>
            <pc:sldMk cId="1121314240" sldId="335"/>
            <ac:spMk id="396" creationId="{3CFFE46A-AC35-47E4-A025-9217E5A0B079}"/>
          </ac:spMkLst>
        </pc:spChg>
        <pc:spChg chg="add del mod modVis">
          <ac:chgData name="Wang, David" userId="5ba1598c-ec07-46f3-a0aa-a1cc2acb9765" providerId="ADAL" clId="{14C079B1-3763-444B-B216-374EF69EE7DF}" dt="2021-07-26T08:43:38.643" v="18103"/>
          <ac:spMkLst>
            <pc:docMk/>
            <pc:sldMk cId="1121314240" sldId="335"/>
            <ac:spMk id="397" creationId="{2F03E8AC-CC0A-4B1F-9CEC-7DA76A13F5B4}"/>
          </ac:spMkLst>
        </pc:spChg>
        <pc:spChg chg="add del mod modVis">
          <ac:chgData name="Wang, David" userId="5ba1598c-ec07-46f3-a0aa-a1cc2acb9765" providerId="ADAL" clId="{14C079B1-3763-444B-B216-374EF69EE7DF}" dt="2021-07-26T08:43:39.815" v="18197"/>
          <ac:spMkLst>
            <pc:docMk/>
            <pc:sldMk cId="1121314240" sldId="335"/>
            <ac:spMk id="398" creationId="{0ADAD427-3713-42FA-B8E9-383C7FA1DBC7}"/>
          </ac:spMkLst>
        </pc:spChg>
        <pc:spChg chg="add del mod">
          <ac:chgData name="Wang, David" userId="5ba1598c-ec07-46f3-a0aa-a1cc2acb9765" providerId="ADAL" clId="{14C079B1-3763-444B-B216-374EF69EE7DF}" dt="2021-07-26T08:44:20.459" v="18646" actId="478"/>
          <ac:spMkLst>
            <pc:docMk/>
            <pc:sldMk cId="1121314240" sldId="335"/>
            <ac:spMk id="399" creationId="{47656910-0F09-4B16-B33D-9580AFE8E53F}"/>
          </ac:spMkLst>
        </pc:spChg>
        <pc:spChg chg="add mod ord">
          <ac:chgData name="Wang, David" userId="5ba1598c-ec07-46f3-a0aa-a1cc2acb9765" providerId="ADAL" clId="{14C079B1-3763-444B-B216-374EF69EE7DF}" dt="2021-07-26T08:48:24.231" v="23351" actId="948"/>
          <ac:spMkLst>
            <pc:docMk/>
            <pc:sldMk cId="1121314240" sldId="335"/>
            <ac:spMk id="400" creationId="{3715C4A3-DB57-4920-BD34-7F5385061BDB}"/>
          </ac:spMkLst>
        </pc:spChg>
        <pc:spChg chg="add del mod modVis">
          <ac:chgData name="Wang, David" userId="5ba1598c-ec07-46f3-a0aa-a1cc2acb9765" providerId="ADAL" clId="{14C079B1-3763-444B-B216-374EF69EE7DF}" dt="2021-07-26T08:44:30.737" v="18997"/>
          <ac:spMkLst>
            <pc:docMk/>
            <pc:sldMk cId="1121314240" sldId="335"/>
            <ac:spMk id="401" creationId="{115D316A-AD85-43B0-BD11-22A557198D6E}"/>
          </ac:spMkLst>
        </pc:spChg>
        <pc:spChg chg="add del mod modVis">
          <ac:chgData name="Wang, David" userId="5ba1598c-ec07-46f3-a0aa-a1cc2acb9765" providerId="ADAL" clId="{14C079B1-3763-444B-B216-374EF69EE7DF}" dt="2021-07-26T08:44:35.670" v="19093"/>
          <ac:spMkLst>
            <pc:docMk/>
            <pc:sldMk cId="1121314240" sldId="335"/>
            <ac:spMk id="402" creationId="{90FCB128-C9D8-4CE5-A53F-9041CC03C739}"/>
          </ac:spMkLst>
        </pc:spChg>
        <pc:spChg chg="add del mod modVis">
          <ac:chgData name="Wang, David" userId="5ba1598c-ec07-46f3-a0aa-a1cc2acb9765" providerId="ADAL" clId="{14C079B1-3763-444B-B216-374EF69EE7DF}" dt="2021-07-26T08:44:36.883" v="19174"/>
          <ac:spMkLst>
            <pc:docMk/>
            <pc:sldMk cId="1121314240" sldId="335"/>
            <ac:spMk id="403" creationId="{9913F4EE-6217-4D9F-BC05-F95F64851F96}"/>
          </ac:spMkLst>
        </pc:spChg>
        <pc:spChg chg="add del mod modVis">
          <ac:chgData name="Wang, David" userId="5ba1598c-ec07-46f3-a0aa-a1cc2acb9765" providerId="ADAL" clId="{14C079B1-3763-444B-B216-374EF69EE7DF}" dt="2021-07-26T08:44:47.452" v="19251"/>
          <ac:spMkLst>
            <pc:docMk/>
            <pc:sldMk cId="1121314240" sldId="335"/>
            <ac:spMk id="404" creationId="{773277FA-6AB6-4CCF-8EF3-B01CCC1E7D94}"/>
          </ac:spMkLst>
        </pc:spChg>
        <pc:spChg chg="add del mod modVis">
          <ac:chgData name="Wang, David" userId="5ba1598c-ec07-46f3-a0aa-a1cc2acb9765" providerId="ADAL" clId="{14C079B1-3763-444B-B216-374EF69EE7DF}" dt="2021-07-26T08:44:50.485" v="19330"/>
          <ac:spMkLst>
            <pc:docMk/>
            <pc:sldMk cId="1121314240" sldId="335"/>
            <ac:spMk id="405" creationId="{2C1388F5-8A84-48E1-9EBB-F8786C0B35CA}"/>
          </ac:spMkLst>
        </pc:spChg>
        <pc:spChg chg="add del mod modVis">
          <ac:chgData name="Wang, David" userId="5ba1598c-ec07-46f3-a0aa-a1cc2acb9765" providerId="ADAL" clId="{14C079B1-3763-444B-B216-374EF69EE7DF}" dt="2021-07-26T08:44:52.687" v="19413"/>
          <ac:spMkLst>
            <pc:docMk/>
            <pc:sldMk cId="1121314240" sldId="335"/>
            <ac:spMk id="406" creationId="{3A9AF2FA-8BC4-4FD9-8124-0EDCA56822B9}"/>
          </ac:spMkLst>
        </pc:spChg>
        <pc:spChg chg="add del mod modVis">
          <ac:chgData name="Wang, David" userId="5ba1598c-ec07-46f3-a0aa-a1cc2acb9765" providerId="ADAL" clId="{14C079B1-3763-444B-B216-374EF69EE7DF}" dt="2021-07-26T08:45:03.971" v="19760"/>
          <ac:spMkLst>
            <pc:docMk/>
            <pc:sldMk cId="1121314240" sldId="335"/>
            <ac:spMk id="407" creationId="{EF164B6D-1C16-4CB6-A570-B9A777D1C454}"/>
          </ac:spMkLst>
        </pc:spChg>
        <pc:spChg chg="add del mod modVis">
          <ac:chgData name="Wang, David" userId="5ba1598c-ec07-46f3-a0aa-a1cc2acb9765" providerId="ADAL" clId="{14C079B1-3763-444B-B216-374EF69EE7DF}" dt="2021-07-26T08:45:05.207" v="19838"/>
          <ac:spMkLst>
            <pc:docMk/>
            <pc:sldMk cId="1121314240" sldId="335"/>
            <ac:spMk id="408" creationId="{8831CE04-A449-4A6D-93B9-E06B89E4E9DF}"/>
          </ac:spMkLst>
        </pc:spChg>
        <pc:spChg chg="add del mod ord">
          <ac:chgData name="Wang, David" userId="5ba1598c-ec07-46f3-a0aa-a1cc2acb9765" providerId="ADAL" clId="{14C079B1-3763-444B-B216-374EF69EE7DF}" dt="2021-07-26T08:46:58.188" v="22209"/>
          <ac:spMkLst>
            <pc:docMk/>
            <pc:sldMk cId="1121314240" sldId="335"/>
            <ac:spMk id="409" creationId="{E242CC3F-9795-483C-9237-F1D902A5288D}"/>
          </ac:spMkLst>
        </pc:spChg>
        <pc:spChg chg="add del mod ord modVis">
          <ac:chgData name="Wang, David" userId="5ba1598c-ec07-46f3-a0aa-a1cc2acb9765" providerId="ADAL" clId="{14C079B1-3763-444B-B216-374EF69EE7DF}" dt="2021-07-26T08:45:19.027" v="20151"/>
          <ac:spMkLst>
            <pc:docMk/>
            <pc:sldMk cId="1121314240" sldId="335"/>
            <ac:spMk id="410" creationId="{63B60159-5799-4B62-95D8-CDB782B1F785}"/>
          </ac:spMkLst>
        </pc:spChg>
        <pc:spChg chg="add del mod ord">
          <ac:chgData name="Wang, David" userId="5ba1598c-ec07-46f3-a0aa-a1cc2acb9765" providerId="ADAL" clId="{14C079B1-3763-444B-B216-374EF69EE7DF}" dt="2021-07-26T08:46:58.172" v="22207"/>
          <ac:spMkLst>
            <pc:docMk/>
            <pc:sldMk cId="1121314240" sldId="335"/>
            <ac:spMk id="411" creationId="{95737FD1-6FF1-4CC2-BB5C-F37CC200C114}"/>
          </ac:spMkLst>
        </pc:spChg>
        <pc:spChg chg="add del mod modVis">
          <ac:chgData name="Wang, David" userId="5ba1598c-ec07-46f3-a0aa-a1cc2acb9765" providerId="ADAL" clId="{14C079B1-3763-444B-B216-374EF69EE7DF}" dt="2021-07-26T08:45:24.941" v="20302"/>
          <ac:spMkLst>
            <pc:docMk/>
            <pc:sldMk cId="1121314240" sldId="335"/>
            <ac:spMk id="412" creationId="{42CAA577-A14E-4879-ADB2-A5040E073531}"/>
          </ac:spMkLst>
        </pc:spChg>
        <pc:spChg chg="add mod ord">
          <ac:chgData name="Wang, David" userId="5ba1598c-ec07-46f3-a0aa-a1cc2acb9765" providerId="ADAL" clId="{14C079B1-3763-444B-B216-374EF69EE7DF}" dt="2021-07-26T08:48:24.231" v="23357" actId="948"/>
          <ac:spMkLst>
            <pc:docMk/>
            <pc:sldMk cId="1121314240" sldId="335"/>
            <ac:spMk id="413" creationId="{A740598C-87FE-4B7E-82F0-6E2253C12C34}"/>
          </ac:spMkLst>
        </pc:spChg>
        <pc:spChg chg="add del mod modVis">
          <ac:chgData name="Wang, David" userId="5ba1598c-ec07-46f3-a0aa-a1cc2acb9765" providerId="ADAL" clId="{14C079B1-3763-444B-B216-374EF69EE7DF}" dt="2021-07-26T08:45:55.730" v="20842"/>
          <ac:spMkLst>
            <pc:docMk/>
            <pc:sldMk cId="1121314240" sldId="335"/>
            <ac:spMk id="414" creationId="{FE032335-B095-4D1D-94F9-7A6F3780D7FA}"/>
          </ac:spMkLst>
        </pc:spChg>
        <pc:spChg chg="add del mod modVis">
          <ac:chgData name="Wang, David" userId="5ba1598c-ec07-46f3-a0aa-a1cc2acb9765" providerId="ADAL" clId="{14C079B1-3763-444B-B216-374EF69EE7DF}" dt="2021-07-26T08:46:09.451" v="20974"/>
          <ac:spMkLst>
            <pc:docMk/>
            <pc:sldMk cId="1121314240" sldId="335"/>
            <ac:spMk id="415" creationId="{22790958-2297-4E24-ADCB-9FB2232D47A4}"/>
          </ac:spMkLst>
        </pc:spChg>
        <pc:spChg chg="add del mod modVis">
          <ac:chgData name="Wang, David" userId="5ba1598c-ec07-46f3-a0aa-a1cc2acb9765" providerId="ADAL" clId="{14C079B1-3763-444B-B216-374EF69EE7DF}" dt="2021-07-26T08:46:10.871" v="21058"/>
          <ac:spMkLst>
            <pc:docMk/>
            <pc:sldMk cId="1121314240" sldId="335"/>
            <ac:spMk id="416" creationId="{D65655CE-9F50-4EA9-95B7-06A698E57958}"/>
          </ac:spMkLst>
        </pc:spChg>
        <pc:spChg chg="add del mod modVis">
          <ac:chgData name="Wang, David" userId="5ba1598c-ec07-46f3-a0aa-a1cc2acb9765" providerId="ADAL" clId="{14C079B1-3763-444B-B216-374EF69EE7DF}" dt="2021-07-26T08:46:14.538" v="21154"/>
          <ac:spMkLst>
            <pc:docMk/>
            <pc:sldMk cId="1121314240" sldId="335"/>
            <ac:spMk id="417" creationId="{B31AE784-AFC5-4784-8F01-8EC1B85C14FC}"/>
          </ac:spMkLst>
        </pc:spChg>
        <pc:spChg chg="add del mod modVis">
          <ac:chgData name="Wang, David" userId="5ba1598c-ec07-46f3-a0aa-a1cc2acb9765" providerId="ADAL" clId="{14C079B1-3763-444B-B216-374EF69EE7DF}" dt="2021-07-26T08:46:15.610" v="21236"/>
          <ac:spMkLst>
            <pc:docMk/>
            <pc:sldMk cId="1121314240" sldId="335"/>
            <ac:spMk id="418" creationId="{22D4F60E-2352-4B6C-BE43-EEF6CB2B610F}"/>
          </ac:spMkLst>
        </pc:spChg>
        <pc:spChg chg="add del mod modVis">
          <ac:chgData name="Wang, David" userId="5ba1598c-ec07-46f3-a0aa-a1cc2acb9765" providerId="ADAL" clId="{14C079B1-3763-444B-B216-374EF69EE7DF}" dt="2021-07-26T08:46:21.347" v="21322"/>
          <ac:spMkLst>
            <pc:docMk/>
            <pc:sldMk cId="1121314240" sldId="335"/>
            <ac:spMk id="419" creationId="{98F43C90-2791-40AC-82A8-EEFE2E647A2E}"/>
          </ac:spMkLst>
        </pc:spChg>
        <pc:spChg chg="add del mod modVis">
          <ac:chgData name="Wang, David" userId="5ba1598c-ec07-46f3-a0aa-a1cc2acb9765" providerId="ADAL" clId="{14C079B1-3763-444B-B216-374EF69EE7DF}" dt="2021-07-26T08:46:22.082" v="21401"/>
          <ac:spMkLst>
            <pc:docMk/>
            <pc:sldMk cId="1121314240" sldId="335"/>
            <ac:spMk id="420" creationId="{2F408A03-4400-41A6-96C4-8BEAF6F29122}"/>
          </ac:spMkLst>
        </pc:spChg>
        <pc:spChg chg="add del mod modVis">
          <ac:chgData name="Wang, David" userId="5ba1598c-ec07-46f3-a0aa-a1cc2acb9765" providerId="ADAL" clId="{14C079B1-3763-444B-B216-374EF69EE7DF}" dt="2021-07-26T08:46:23.253" v="21561"/>
          <ac:spMkLst>
            <pc:docMk/>
            <pc:sldMk cId="1121314240" sldId="335"/>
            <ac:spMk id="421" creationId="{D7F6B88A-BADB-4CE4-BBEB-244DF344E45F}"/>
          </ac:spMkLst>
        </pc:spChg>
        <pc:spChg chg="add del mod modVis">
          <ac:chgData name="Wang, David" userId="5ba1598c-ec07-46f3-a0aa-a1cc2acb9765" providerId="ADAL" clId="{14C079B1-3763-444B-B216-374EF69EE7DF}" dt="2021-07-26T08:46:28.824" v="21643"/>
          <ac:spMkLst>
            <pc:docMk/>
            <pc:sldMk cId="1121314240" sldId="335"/>
            <ac:spMk id="422" creationId="{10748B67-2083-4852-B21E-700ADBF81F77}"/>
          </ac:spMkLst>
        </pc:spChg>
        <pc:spChg chg="add del mod modVis">
          <ac:chgData name="Wang, David" userId="5ba1598c-ec07-46f3-a0aa-a1cc2acb9765" providerId="ADAL" clId="{14C079B1-3763-444B-B216-374EF69EE7DF}" dt="2021-07-26T08:46:30.831" v="21800"/>
          <ac:spMkLst>
            <pc:docMk/>
            <pc:sldMk cId="1121314240" sldId="335"/>
            <ac:spMk id="423" creationId="{85426F43-7F82-4592-B8F5-B465746325F2}"/>
          </ac:spMkLst>
        </pc:spChg>
        <pc:spChg chg="add del mod modVis">
          <ac:chgData name="Wang, David" userId="5ba1598c-ec07-46f3-a0aa-a1cc2acb9765" providerId="ADAL" clId="{14C079B1-3763-444B-B216-374EF69EE7DF}" dt="2021-07-26T08:46:31.586" v="21879"/>
          <ac:spMkLst>
            <pc:docMk/>
            <pc:sldMk cId="1121314240" sldId="335"/>
            <ac:spMk id="424" creationId="{2D50D8BB-FA00-4EB8-811F-1D815B1C95A3}"/>
          </ac:spMkLst>
        </pc:spChg>
        <pc:spChg chg="add del mod modVis">
          <ac:chgData name="Wang, David" userId="5ba1598c-ec07-46f3-a0aa-a1cc2acb9765" providerId="ADAL" clId="{14C079B1-3763-444B-B216-374EF69EE7DF}" dt="2021-07-26T08:46:32.529" v="21958"/>
          <ac:spMkLst>
            <pc:docMk/>
            <pc:sldMk cId="1121314240" sldId="335"/>
            <ac:spMk id="425" creationId="{0375F1FF-C18F-4568-9AD8-27DAFC262854}"/>
          </ac:spMkLst>
        </pc:spChg>
        <pc:spChg chg="add del mod modVis">
          <ac:chgData name="Wang, David" userId="5ba1598c-ec07-46f3-a0aa-a1cc2acb9765" providerId="ADAL" clId="{14C079B1-3763-444B-B216-374EF69EE7DF}" dt="2021-07-26T08:46:37.601" v="22038"/>
          <ac:spMkLst>
            <pc:docMk/>
            <pc:sldMk cId="1121314240" sldId="335"/>
            <ac:spMk id="426" creationId="{34C1BC92-E4E1-44DB-84FC-E31435E1F1A8}"/>
          </ac:spMkLst>
        </pc:spChg>
        <pc:spChg chg="add mod ord">
          <ac:chgData name="Wang, David" userId="5ba1598c-ec07-46f3-a0aa-a1cc2acb9765" providerId="ADAL" clId="{14C079B1-3763-444B-B216-374EF69EE7DF}" dt="2021-07-26T08:48:24.284" v="23363"/>
          <ac:spMkLst>
            <pc:docMk/>
            <pc:sldMk cId="1121314240" sldId="335"/>
            <ac:spMk id="427" creationId="{9D443D96-3F84-4C82-B292-297998452DF5}"/>
          </ac:spMkLst>
        </pc:spChg>
        <pc:spChg chg="add del mod modVis">
          <ac:chgData name="Wang, David" userId="5ba1598c-ec07-46f3-a0aa-a1cc2acb9765" providerId="ADAL" clId="{14C079B1-3763-444B-B216-374EF69EE7DF}" dt="2021-07-26T08:48:12.304" v="23182"/>
          <ac:spMkLst>
            <pc:docMk/>
            <pc:sldMk cId="1121314240" sldId="335"/>
            <ac:spMk id="428" creationId="{2C8D9AE6-1E67-4983-9149-1707B7102A9B}"/>
          </ac:spMkLst>
        </pc:spChg>
        <pc:spChg chg="add del mod modVis">
          <ac:chgData name="Wang, David" userId="5ba1598c-ec07-46f3-a0aa-a1cc2acb9765" providerId="ADAL" clId="{14C079B1-3763-444B-B216-374EF69EE7DF}" dt="2021-07-26T08:49:52.122" v="23754"/>
          <ac:spMkLst>
            <pc:docMk/>
            <pc:sldMk cId="1121314240" sldId="335"/>
            <ac:spMk id="431" creationId="{99DFD06A-E464-4886-BC0E-CF64B0177EB4}"/>
          </ac:spMkLst>
        </pc:spChg>
        <pc:graphicFrameChg chg="mod ord">
          <ac:chgData name="Wang, David" userId="5ba1598c-ec07-46f3-a0aa-a1cc2acb9765" providerId="ADAL" clId="{14C079B1-3763-444B-B216-374EF69EE7DF}" dt="2021-07-26T08:49:52.122" v="23756"/>
          <ac:graphicFrameMkLst>
            <pc:docMk/>
            <pc:sldMk cId="1121314240" sldId="335"/>
            <ac:graphicFrameMk id="25" creationId="{B4272582-F9BE-4551-B91E-4987C5505A19}"/>
          </ac:graphicFrameMkLst>
        </pc:graphicFrameChg>
        <pc:picChg chg="add mod">
          <ac:chgData name="Wang, David" userId="5ba1598c-ec07-46f3-a0aa-a1cc2acb9765" providerId="ADAL" clId="{14C079B1-3763-444B-B216-374EF69EE7DF}" dt="2021-07-26T08:47:54.232" v="22916"/>
          <ac:picMkLst>
            <pc:docMk/>
            <pc:sldMk cId="1121314240" sldId="335"/>
            <ac:picMk id="344" creationId="{682EC87B-E047-42B9-AD03-95388165659C}"/>
          </ac:picMkLst>
        </pc:picChg>
        <pc:picChg chg="add mod">
          <ac:chgData name="Wang, David" userId="5ba1598c-ec07-46f3-a0aa-a1cc2acb9765" providerId="ADAL" clId="{14C079B1-3763-444B-B216-374EF69EE7DF}" dt="2021-07-26T08:47:54.232" v="22917"/>
          <ac:picMkLst>
            <pc:docMk/>
            <pc:sldMk cId="1121314240" sldId="335"/>
            <ac:picMk id="345" creationId="{B6288E88-D483-4517-9FB3-96B01D47E1F0}"/>
          </ac:picMkLst>
        </pc:picChg>
        <pc:picChg chg="add mod">
          <ac:chgData name="Wang, David" userId="5ba1598c-ec07-46f3-a0aa-a1cc2acb9765" providerId="ADAL" clId="{14C079B1-3763-444B-B216-374EF69EE7DF}" dt="2021-07-26T08:47:54.233" v="22918"/>
          <ac:picMkLst>
            <pc:docMk/>
            <pc:sldMk cId="1121314240" sldId="335"/>
            <ac:picMk id="346" creationId="{8B6346E0-2656-4FDD-B613-FCF3C9B4F3F7}"/>
          </ac:picMkLst>
        </pc:picChg>
        <pc:picChg chg="add mod">
          <ac:chgData name="Wang, David" userId="5ba1598c-ec07-46f3-a0aa-a1cc2acb9765" providerId="ADAL" clId="{14C079B1-3763-444B-B216-374EF69EE7DF}" dt="2021-07-26T08:48:48.213" v="23389" actId="1076"/>
          <ac:picMkLst>
            <pc:docMk/>
            <pc:sldMk cId="1121314240" sldId="335"/>
            <ac:picMk id="429" creationId="{6A0CFB41-B84E-4BEC-9B2B-CFACD61E18B6}"/>
          </ac:picMkLst>
        </pc:picChg>
        <pc:picChg chg="add mod">
          <ac:chgData name="Wang, David" userId="5ba1598c-ec07-46f3-a0aa-a1cc2acb9765" providerId="ADAL" clId="{14C079B1-3763-444B-B216-374EF69EE7DF}" dt="2021-07-26T08:48:56.544" v="23391" actId="1076"/>
          <ac:picMkLst>
            <pc:docMk/>
            <pc:sldMk cId="1121314240" sldId="335"/>
            <ac:picMk id="430" creationId="{81473077-7891-4996-8069-08ACE6FBD883}"/>
          </ac:picMkLst>
        </pc:picChg>
        <pc:cxnChg chg="add del mod">
          <ac:chgData name="Wang, David" userId="5ba1598c-ec07-46f3-a0aa-a1cc2acb9765" providerId="ADAL" clId="{14C079B1-3763-444B-B216-374EF69EE7DF}" dt="2021-07-26T06:16:37.534" v="1253"/>
          <ac:cxnSpMkLst>
            <pc:docMk/>
            <pc:sldMk cId="1121314240" sldId="335"/>
            <ac:cxnSpMk id="19" creationId="{32999EBD-0749-4D95-A263-7E942A0DF255}"/>
          </ac:cxnSpMkLst>
        </pc:cxnChg>
        <pc:cxnChg chg="add del mod">
          <ac:chgData name="Wang, David" userId="5ba1598c-ec07-46f3-a0aa-a1cc2acb9765" providerId="ADAL" clId="{14C079B1-3763-444B-B216-374EF69EE7DF}" dt="2021-07-26T06:16:37.534" v="1245"/>
          <ac:cxnSpMkLst>
            <pc:docMk/>
            <pc:sldMk cId="1121314240" sldId="335"/>
            <ac:cxnSpMk id="20" creationId="{B01E3931-0178-49FC-9FDB-5762C7AAD8F7}"/>
          </ac:cxnSpMkLst>
        </pc:cxnChg>
        <pc:cxnChg chg="add del mod">
          <ac:chgData name="Wang, David" userId="5ba1598c-ec07-46f3-a0aa-a1cc2acb9765" providerId="ADAL" clId="{14C079B1-3763-444B-B216-374EF69EE7DF}" dt="2021-07-26T06:16:37.518" v="1239"/>
          <ac:cxnSpMkLst>
            <pc:docMk/>
            <pc:sldMk cId="1121314240" sldId="335"/>
            <ac:cxnSpMk id="21" creationId="{62855CF3-4CED-4BC1-97B6-3204183DE010}"/>
          </ac:cxnSpMkLst>
        </pc:cxnChg>
        <pc:cxnChg chg="add del mod">
          <ac:chgData name="Wang, David" userId="5ba1598c-ec07-46f3-a0aa-a1cc2acb9765" providerId="ADAL" clId="{14C079B1-3763-444B-B216-374EF69EE7DF}" dt="2021-07-26T06:16:37.556" v="1263"/>
          <ac:cxnSpMkLst>
            <pc:docMk/>
            <pc:sldMk cId="1121314240" sldId="335"/>
            <ac:cxnSpMk id="22" creationId="{1CA30D33-84B1-4DDD-8F9E-35CE6855754D}"/>
          </ac:cxnSpMkLst>
        </pc:cxnChg>
        <pc:cxnChg chg="add del mod">
          <ac:chgData name="Wang, David" userId="5ba1598c-ec07-46f3-a0aa-a1cc2acb9765" providerId="ADAL" clId="{14C079B1-3763-444B-B216-374EF69EE7DF}" dt="2021-07-26T06:16:37.534" v="1255"/>
          <ac:cxnSpMkLst>
            <pc:docMk/>
            <pc:sldMk cId="1121314240" sldId="335"/>
            <ac:cxnSpMk id="23" creationId="{F7DF941A-049E-424B-B952-229B72794B77}"/>
          </ac:cxnSpMkLst>
        </pc:cxnChg>
        <pc:cxnChg chg="add del mod">
          <ac:chgData name="Wang, David" userId="5ba1598c-ec07-46f3-a0aa-a1cc2acb9765" providerId="ADAL" clId="{14C079B1-3763-444B-B216-374EF69EE7DF}" dt="2021-07-26T06:16:37.518" v="1243"/>
          <ac:cxnSpMkLst>
            <pc:docMk/>
            <pc:sldMk cId="1121314240" sldId="335"/>
            <ac:cxnSpMk id="24" creationId="{2DF3E608-DEA1-49B9-94D8-29A8F45F172C}"/>
          </ac:cxnSpMkLst>
        </pc:cxnChg>
        <pc:cxnChg chg="add del mod">
          <ac:chgData name="Wang, David" userId="5ba1598c-ec07-46f3-a0aa-a1cc2acb9765" providerId="ADAL" clId="{14C079B1-3763-444B-B216-374EF69EE7DF}" dt="2021-07-26T06:16:37.549" v="1259"/>
          <ac:cxnSpMkLst>
            <pc:docMk/>
            <pc:sldMk cId="1121314240" sldId="335"/>
            <ac:cxnSpMk id="26" creationId="{38A2CB70-0C26-4F08-872D-37AB06D1DBAE}"/>
          </ac:cxnSpMkLst>
        </pc:cxnChg>
        <pc:cxnChg chg="add del mod">
          <ac:chgData name="Wang, David" userId="5ba1598c-ec07-46f3-a0aa-a1cc2acb9765" providerId="ADAL" clId="{14C079B1-3763-444B-B216-374EF69EE7DF}" dt="2021-07-26T06:16:37.534" v="1247"/>
          <ac:cxnSpMkLst>
            <pc:docMk/>
            <pc:sldMk cId="1121314240" sldId="335"/>
            <ac:cxnSpMk id="27" creationId="{21517E74-F080-4D58-86F1-D6D37FA52E9A}"/>
          </ac:cxnSpMkLst>
        </pc:cxnChg>
        <pc:cxnChg chg="add del mod">
          <ac:chgData name="Wang, David" userId="5ba1598c-ec07-46f3-a0aa-a1cc2acb9765" providerId="ADAL" clId="{14C079B1-3763-444B-B216-374EF69EE7DF}" dt="2021-07-26T06:16:37.549" v="1257"/>
          <ac:cxnSpMkLst>
            <pc:docMk/>
            <pc:sldMk cId="1121314240" sldId="335"/>
            <ac:cxnSpMk id="28" creationId="{A5A37CA0-2236-44B1-9781-56F4F0918B18}"/>
          </ac:cxnSpMkLst>
        </pc:cxnChg>
        <pc:cxnChg chg="add del mod">
          <ac:chgData name="Wang, David" userId="5ba1598c-ec07-46f3-a0aa-a1cc2acb9765" providerId="ADAL" clId="{14C079B1-3763-444B-B216-374EF69EE7DF}" dt="2021-07-26T06:16:37.534" v="1251"/>
          <ac:cxnSpMkLst>
            <pc:docMk/>
            <pc:sldMk cId="1121314240" sldId="335"/>
            <ac:cxnSpMk id="29" creationId="{E36DCEA3-3AD8-44BA-8F93-0B12D65CF6C5}"/>
          </ac:cxnSpMkLst>
        </pc:cxnChg>
        <pc:cxnChg chg="add del mod">
          <ac:chgData name="Wang, David" userId="5ba1598c-ec07-46f3-a0aa-a1cc2acb9765" providerId="ADAL" clId="{14C079B1-3763-444B-B216-374EF69EE7DF}" dt="2021-07-26T06:16:37.518" v="1241"/>
          <ac:cxnSpMkLst>
            <pc:docMk/>
            <pc:sldMk cId="1121314240" sldId="335"/>
            <ac:cxnSpMk id="30" creationId="{0EB21EE7-0411-47E8-BC9B-9F9CFC57D242}"/>
          </ac:cxnSpMkLst>
        </pc:cxnChg>
        <pc:cxnChg chg="add del mod">
          <ac:chgData name="Wang, David" userId="5ba1598c-ec07-46f3-a0aa-a1cc2acb9765" providerId="ADAL" clId="{14C079B1-3763-444B-B216-374EF69EE7DF}" dt="2021-07-26T06:16:37.556" v="1267"/>
          <ac:cxnSpMkLst>
            <pc:docMk/>
            <pc:sldMk cId="1121314240" sldId="335"/>
            <ac:cxnSpMk id="31" creationId="{0F36439E-A354-4987-A82B-6D6644956789}"/>
          </ac:cxnSpMkLst>
        </pc:cxnChg>
        <pc:cxnChg chg="add del mod">
          <ac:chgData name="Wang, David" userId="5ba1598c-ec07-46f3-a0aa-a1cc2acb9765" providerId="ADAL" clId="{14C079B1-3763-444B-B216-374EF69EE7DF}" dt="2021-07-26T06:16:37.534" v="1249"/>
          <ac:cxnSpMkLst>
            <pc:docMk/>
            <pc:sldMk cId="1121314240" sldId="335"/>
            <ac:cxnSpMk id="32" creationId="{463A255E-81FE-4559-AF34-D16AC415CD59}"/>
          </ac:cxnSpMkLst>
        </pc:cxnChg>
        <pc:cxnChg chg="add del mod">
          <ac:chgData name="Wang, David" userId="5ba1598c-ec07-46f3-a0aa-a1cc2acb9765" providerId="ADAL" clId="{14C079B1-3763-444B-B216-374EF69EE7DF}" dt="2021-07-26T06:16:37.456" v="1189"/>
          <ac:cxnSpMkLst>
            <pc:docMk/>
            <pc:sldMk cId="1121314240" sldId="335"/>
            <ac:cxnSpMk id="33" creationId="{92D8338A-AF6C-43A4-975D-BAD5218173E8}"/>
          </ac:cxnSpMkLst>
        </pc:cxnChg>
        <pc:cxnChg chg="add del mod">
          <ac:chgData name="Wang, David" userId="5ba1598c-ec07-46f3-a0aa-a1cc2acb9765" providerId="ADAL" clId="{14C079B1-3763-444B-B216-374EF69EE7DF}" dt="2021-07-26T06:16:37.556" v="1261"/>
          <ac:cxnSpMkLst>
            <pc:docMk/>
            <pc:sldMk cId="1121314240" sldId="335"/>
            <ac:cxnSpMk id="34" creationId="{47B403A6-432E-40A0-B4F6-706DB2A86C95}"/>
          </ac:cxnSpMkLst>
        </pc:cxnChg>
        <pc:cxnChg chg="add del mod">
          <ac:chgData name="Wang, David" userId="5ba1598c-ec07-46f3-a0aa-a1cc2acb9765" providerId="ADAL" clId="{14C079B1-3763-444B-B216-374EF69EE7DF}" dt="2021-07-26T06:16:37.503" v="1219"/>
          <ac:cxnSpMkLst>
            <pc:docMk/>
            <pc:sldMk cId="1121314240" sldId="335"/>
            <ac:cxnSpMk id="35" creationId="{7AC7F238-80B2-455A-B30D-FF779CE724AD}"/>
          </ac:cxnSpMkLst>
        </pc:cxnChg>
        <pc:cxnChg chg="add del mod">
          <ac:chgData name="Wang, David" userId="5ba1598c-ec07-46f3-a0aa-a1cc2acb9765" providerId="ADAL" clId="{14C079B1-3763-444B-B216-374EF69EE7DF}" dt="2021-07-26T06:16:37.556" v="1265"/>
          <ac:cxnSpMkLst>
            <pc:docMk/>
            <pc:sldMk cId="1121314240" sldId="335"/>
            <ac:cxnSpMk id="36" creationId="{502DF7CC-A1BC-4CB2-BEB5-EB35F0880C0F}"/>
          </ac:cxnSpMkLst>
        </pc:cxnChg>
        <pc:cxnChg chg="add del mod ord">
          <ac:chgData name="Wang, David" userId="5ba1598c-ec07-46f3-a0aa-a1cc2acb9765" providerId="ADAL" clId="{14C079B1-3763-444B-B216-374EF69EE7DF}" dt="2021-07-26T06:19:31.989" v="4899"/>
          <ac:cxnSpMkLst>
            <pc:docMk/>
            <pc:sldMk cId="1121314240" sldId="335"/>
            <ac:cxnSpMk id="98" creationId="{5FD83A82-0C02-49A7-BE75-007F7383A6A6}"/>
          </ac:cxnSpMkLst>
        </pc:cxnChg>
        <pc:cxnChg chg="add del mod ord">
          <ac:chgData name="Wang, David" userId="5ba1598c-ec07-46f3-a0aa-a1cc2acb9765" providerId="ADAL" clId="{14C079B1-3763-444B-B216-374EF69EE7DF}" dt="2021-07-26T06:19:31.973" v="4891"/>
          <ac:cxnSpMkLst>
            <pc:docMk/>
            <pc:sldMk cId="1121314240" sldId="335"/>
            <ac:cxnSpMk id="101" creationId="{2B3C185E-25BC-4B22-8629-354B0890AF5D}"/>
          </ac:cxnSpMkLst>
        </pc:cxnChg>
        <pc:cxnChg chg="add del mod ord">
          <ac:chgData name="Wang, David" userId="5ba1598c-ec07-46f3-a0aa-a1cc2acb9765" providerId="ADAL" clId="{14C079B1-3763-444B-B216-374EF69EE7DF}" dt="2021-07-26T06:19:31.973" v="4887"/>
          <ac:cxnSpMkLst>
            <pc:docMk/>
            <pc:sldMk cId="1121314240" sldId="335"/>
            <ac:cxnSpMk id="102" creationId="{6BD8FAFE-256A-4DA6-9DBA-AF2A0FFE9653}"/>
          </ac:cxnSpMkLst>
        </pc:cxnChg>
        <pc:cxnChg chg="add del mod ord">
          <ac:chgData name="Wang, David" userId="5ba1598c-ec07-46f3-a0aa-a1cc2acb9765" providerId="ADAL" clId="{14C079B1-3763-444B-B216-374EF69EE7DF}" dt="2021-07-26T06:19:32.189" v="5053"/>
          <ac:cxnSpMkLst>
            <pc:docMk/>
            <pc:sldMk cId="1121314240" sldId="335"/>
            <ac:cxnSpMk id="103" creationId="{DD00F051-9894-4616-8327-342CE5072990}"/>
          </ac:cxnSpMkLst>
        </pc:cxnChg>
        <pc:cxnChg chg="add del mod ord">
          <ac:chgData name="Wang, David" userId="5ba1598c-ec07-46f3-a0aa-a1cc2acb9765" providerId="ADAL" clId="{14C079B1-3763-444B-B216-374EF69EE7DF}" dt="2021-07-26T06:19:32.189" v="5051"/>
          <ac:cxnSpMkLst>
            <pc:docMk/>
            <pc:sldMk cId="1121314240" sldId="335"/>
            <ac:cxnSpMk id="104" creationId="{F90FB63E-C58F-4674-9B10-96923E74048D}"/>
          </ac:cxnSpMkLst>
        </pc:cxnChg>
        <pc:cxnChg chg="add del mod ord">
          <ac:chgData name="Wang, David" userId="5ba1598c-ec07-46f3-a0aa-a1cc2acb9765" providerId="ADAL" clId="{14C079B1-3763-444B-B216-374EF69EE7DF}" dt="2021-07-26T06:19:32.151" v="5029"/>
          <ac:cxnSpMkLst>
            <pc:docMk/>
            <pc:sldMk cId="1121314240" sldId="335"/>
            <ac:cxnSpMk id="105" creationId="{6F6F762E-52A6-4278-97DF-C75FE9688FA0}"/>
          </ac:cxnSpMkLst>
        </pc:cxnChg>
        <pc:cxnChg chg="add del mod ord">
          <ac:chgData name="Wang, David" userId="5ba1598c-ec07-46f3-a0aa-a1cc2acb9765" providerId="ADAL" clId="{14C079B1-3763-444B-B216-374EF69EE7DF}" dt="2021-07-26T06:19:32.151" v="5027"/>
          <ac:cxnSpMkLst>
            <pc:docMk/>
            <pc:sldMk cId="1121314240" sldId="335"/>
            <ac:cxnSpMk id="106" creationId="{32407D6B-A76B-4B8C-896C-EE026BF8E15E}"/>
          </ac:cxnSpMkLst>
        </pc:cxnChg>
        <pc:cxnChg chg="add del mod ord">
          <ac:chgData name="Wang, David" userId="5ba1598c-ec07-46f3-a0aa-a1cc2acb9765" providerId="ADAL" clId="{14C079B1-3763-444B-B216-374EF69EE7DF}" dt="2021-07-26T06:19:32.151" v="5025"/>
          <ac:cxnSpMkLst>
            <pc:docMk/>
            <pc:sldMk cId="1121314240" sldId="335"/>
            <ac:cxnSpMk id="107" creationId="{CB3A6E1E-9F2F-4371-9678-8EF4DB6FE92E}"/>
          </ac:cxnSpMkLst>
        </pc:cxnChg>
        <pc:cxnChg chg="add del mod ord">
          <ac:chgData name="Wang, David" userId="5ba1598c-ec07-46f3-a0aa-a1cc2acb9765" providerId="ADAL" clId="{14C079B1-3763-444B-B216-374EF69EE7DF}" dt="2021-07-26T06:19:32.151" v="5023"/>
          <ac:cxnSpMkLst>
            <pc:docMk/>
            <pc:sldMk cId="1121314240" sldId="335"/>
            <ac:cxnSpMk id="108" creationId="{2D1C6F8E-7CF5-483E-9D4C-3AB44B402F1C}"/>
          </ac:cxnSpMkLst>
        </pc:cxnChg>
        <pc:cxnChg chg="add del mod ord">
          <ac:chgData name="Wang, David" userId="5ba1598c-ec07-46f3-a0aa-a1cc2acb9765" providerId="ADAL" clId="{14C079B1-3763-444B-B216-374EF69EE7DF}" dt="2021-07-26T06:19:32.136" v="5021"/>
          <ac:cxnSpMkLst>
            <pc:docMk/>
            <pc:sldMk cId="1121314240" sldId="335"/>
            <ac:cxnSpMk id="109" creationId="{732161A5-D53C-46E9-8056-8A1AB66C1C57}"/>
          </ac:cxnSpMkLst>
        </pc:cxnChg>
        <pc:cxnChg chg="add del mod ord">
          <ac:chgData name="Wang, David" userId="5ba1598c-ec07-46f3-a0aa-a1cc2acb9765" providerId="ADAL" clId="{14C079B1-3763-444B-B216-374EF69EE7DF}" dt="2021-07-26T06:19:32.136" v="5019"/>
          <ac:cxnSpMkLst>
            <pc:docMk/>
            <pc:sldMk cId="1121314240" sldId="335"/>
            <ac:cxnSpMk id="110" creationId="{6F62D35D-C2A8-49EC-8598-B1CBCD9C9DAE}"/>
          </ac:cxnSpMkLst>
        </pc:cxnChg>
        <pc:cxnChg chg="add del mod ord">
          <ac:chgData name="Wang, David" userId="5ba1598c-ec07-46f3-a0aa-a1cc2acb9765" providerId="ADAL" clId="{14C079B1-3763-444B-B216-374EF69EE7DF}" dt="2021-07-26T06:19:32.136" v="5017"/>
          <ac:cxnSpMkLst>
            <pc:docMk/>
            <pc:sldMk cId="1121314240" sldId="335"/>
            <ac:cxnSpMk id="111" creationId="{4D7FE412-8EAC-4F45-9ECD-7B5161309600}"/>
          </ac:cxnSpMkLst>
        </pc:cxnChg>
        <pc:cxnChg chg="add del mod ord">
          <ac:chgData name="Wang, David" userId="5ba1598c-ec07-46f3-a0aa-a1cc2acb9765" providerId="ADAL" clId="{14C079B1-3763-444B-B216-374EF69EE7DF}" dt="2021-07-26T06:19:32.136" v="5015"/>
          <ac:cxnSpMkLst>
            <pc:docMk/>
            <pc:sldMk cId="1121314240" sldId="335"/>
            <ac:cxnSpMk id="112" creationId="{582F064E-5B82-4B94-86CF-EC1A8C1277B3}"/>
          </ac:cxnSpMkLst>
        </pc:cxnChg>
        <pc:cxnChg chg="add del mod ord">
          <ac:chgData name="Wang, David" userId="5ba1598c-ec07-46f3-a0aa-a1cc2acb9765" providerId="ADAL" clId="{14C079B1-3763-444B-B216-374EF69EE7DF}" dt="2021-07-26T06:19:32.136" v="5013"/>
          <ac:cxnSpMkLst>
            <pc:docMk/>
            <pc:sldMk cId="1121314240" sldId="335"/>
            <ac:cxnSpMk id="113" creationId="{EE794BF0-0F48-4323-AC8F-ECB12854515B}"/>
          </ac:cxnSpMkLst>
        </pc:cxnChg>
        <pc:cxnChg chg="add del mod ord">
          <ac:chgData name="Wang, David" userId="5ba1598c-ec07-46f3-a0aa-a1cc2acb9765" providerId="ADAL" clId="{14C079B1-3763-444B-B216-374EF69EE7DF}" dt="2021-07-26T06:19:32.136" v="5011"/>
          <ac:cxnSpMkLst>
            <pc:docMk/>
            <pc:sldMk cId="1121314240" sldId="335"/>
            <ac:cxnSpMk id="114" creationId="{DDB99000-9831-4E42-B685-EE8AC8F1C17E}"/>
          </ac:cxnSpMkLst>
        </pc:cxnChg>
        <pc:cxnChg chg="add del mod ord">
          <ac:chgData name="Wang, David" userId="5ba1598c-ec07-46f3-a0aa-a1cc2acb9765" providerId="ADAL" clId="{14C079B1-3763-444B-B216-374EF69EE7DF}" dt="2021-07-26T06:19:32.120" v="5009"/>
          <ac:cxnSpMkLst>
            <pc:docMk/>
            <pc:sldMk cId="1121314240" sldId="335"/>
            <ac:cxnSpMk id="115" creationId="{771554B6-4BD1-4940-897F-0EF1D5BECFC7}"/>
          </ac:cxnSpMkLst>
        </pc:cxnChg>
        <pc:cxnChg chg="add del mod ord">
          <ac:chgData name="Wang, David" userId="5ba1598c-ec07-46f3-a0aa-a1cc2acb9765" providerId="ADAL" clId="{14C079B1-3763-444B-B216-374EF69EE7DF}" dt="2021-07-26T06:19:32.120" v="5007"/>
          <ac:cxnSpMkLst>
            <pc:docMk/>
            <pc:sldMk cId="1121314240" sldId="335"/>
            <ac:cxnSpMk id="116" creationId="{01894E22-C0BE-4E85-9D6F-AB8CC5BDD650}"/>
          </ac:cxnSpMkLst>
        </pc:cxnChg>
        <pc:cxnChg chg="add del mod ord">
          <ac:chgData name="Wang, David" userId="5ba1598c-ec07-46f3-a0aa-a1cc2acb9765" providerId="ADAL" clId="{14C079B1-3763-444B-B216-374EF69EE7DF}" dt="2021-07-26T06:19:32.205" v="5063"/>
          <ac:cxnSpMkLst>
            <pc:docMk/>
            <pc:sldMk cId="1121314240" sldId="335"/>
            <ac:cxnSpMk id="117" creationId="{75CDE0F0-4379-4827-B548-77C4762E395D}"/>
          </ac:cxnSpMkLst>
        </pc:cxnChg>
        <pc:cxnChg chg="add del mod ord">
          <ac:chgData name="Wang, David" userId="5ba1598c-ec07-46f3-a0aa-a1cc2acb9765" providerId="ADAL" clId="{14C079B1-3763-444B-B216-374EF69EE7DF}" dt="2021-07-26T06:19:32.205" v="5059"/>
          <ac:cxnSpMkLst>
            <pc:docMk/>
            <pc:sldMk cId="1121314240" sldId="335"/>
            <ac:cxnSpMk id="118" creationId="{5134A459-A448-4762-B89C-F8D8556D7FB7}"/>
          </ac:cxnSpMkLst>
        </pc:cxnChg>
        <pc:cxnChg chg="add del mod ord">
          <ac:chgData name="Wang, David" userId="5ba1598c-ec07-46f3-a0aa-a1cc2acb9765" providerId="ADAL" clId="{14C079B1-3763-444B-B216-374EF69EE7DF}" dt="2021-07-26T06:19:32.189" v="5055"/>
          <ac:cxnSpMkLst>
            <pc:docMk/>
            <pc:sldMk cId="1121314240" sldId="335"/>
            <ac:cxnSpMk id="119" creationId="{C082A62E-8D1A-4F06-8ABC-A45F0E0AA389}"/>
          </ac:cxnSpMkLst>
        </pc:cxnChg>
        <pc:cxnChg chg="add del mod ord">
          <ac:chgData name="Wang, David" userId="5ba1598c-ec07-46f3-a0aa-a1cc2acb9765" providerId="ADAL" clId="{14C079B1-3763-444B-B216-374EF69EE7DF}" dt="2021-07-26T06:19:32.205" v="5061"/>
          <ac:cxnSpMkLst>
            <pc:docMk/>
            <pc:sldMk cId="1121314240" sldId="335"/>
            <ac:cxnSpMk id="120" creationId="{037A2460-27BE-4EDE-B3B6-50E962CAEE98}"/>
          </ac:cxnSpMkLst>
        </pc:cxnChg>
        <pc:cxnChg chg="add del mod ord">
          <ac:chgData name="Wang, David" userId="5ba1598c-ec07-46f3-a0aa-a1cc2acb9765" providerId="ADAL" clId="{14C079B1-3763-444B-B216-374EF69EE7DF}" dt="2021-07-26T06:19:32.189" v="5057"/>
          <ac:cxnSpMkLst>
            <pc:docMk/>
            <pc:sldMk cId="1121314240" sldId="335"/>
            <ac:cxnSpMk id="121" creationId="{D5957891-B144-4647-920F-4EF56537A5E6}"/>
          </ac:cxnSpMkLst>
        </pc:cxnChg>
        <pc:cxnChg chg="add del mod ord">
          <ac:chgData name="Wang, David" userId="5ba1598c-ec07-46f3-a0aa-a1cc2acb9765" providerId="ADAL" clId="{14C079B1-3763-444B-B216-374EF69EE7DF}" dt="2021-07-26T06:19:32.189" v="5049"/>
          <ac:cxnSpMkLst>
            <pc:docMk/>
            <pc:sldMk cId="1121314240" sldId="335"/>
            <ac:cxnSpMk id="143" creationId="{34F6891C-5947-43AA-BFE1-1BFE621E0BF6}"/>
          </ac:cxnSpMkLst>
        </pc:cxnChg>
        <pc:cxnChg chg="add del mod ord">
          <ac:chgData name="Wang, David" userId="5ba1598c-ec07-46f3-a0aa-a1cc2acb9765" providerId="ADAL" clId="{14C079B1-3763-444B-B216-374EF69EE7DF}" dt="2021-07-26T06:19:32.174" v="5047"/>
          <ac:cxnSpMkLst>
            <pc:docMk/>
            <pc:sldMk cId="1121314240" sldId="335"/>
            <ac:cxnSpMk id="144" creationId="{BA79411F-EEB5-4D18-84DE-5F00CFD8825A}"/>
          </ac:cxnSpMkLst>
        </pc:cxnChg>
        <pc:cxnChg chg="add del mod ord">
          <ac:chgData name="Wang, David" userId="5ba1598c-ec07-46f3-a0aa-a1cc2acb9765" providerId="ADAL" clId="{14C079B1-3763-444B-B216-374EF69EE7DF}" dt="2021-07-26T06:19:32.174" v="5045"/>
          <ac:cxnSpMkLst>
            <pc:docMk/>
            <pc:sldMk cId="1121314240" sldId="335"/>
            <ac:cxnSpMk id="145" creationId="{56744C7E-EA38-48A1-B305-A452F3DFD324}"/>
          </ac:cxnSpMkLst>
        </pc:cxnChg>
        <pc:cxnChg chg="add del mod ord">
          <ac:chgData name="Wang, David" userId="5ba1598c-ec07-46f3-a0aa-a1cc2acb9765" providerId="ADAL" clId="{14C079B1-3763-444B-B216-374EF69EE7DF}" dt="2021-07-26T06:19:32.120" v="5005"/>
          <ac:cxnSpMkLst>
            <pc:docMk/>
            <pc:sldMk cId="1121314240" sldId="335"/>
            <ac:cxnSpMk id="146" creationId="{A09C2058-9B7F-4C63-986B-AA2B2BCB608C}"/>
          </ac:cxnSpMkLst>
        </pc:cxnChg>
        <pc:cxnChg chg="add del mod ord">
          <ac:chgData name="Wang, David" userId="5ba1598c-ec07-46f3-a0aa-a1cc2acb9765" providerId="ADAL" clId="{14C079B1-3763-444B-B216-374EF69EE7DF}" dt="2021-07-26T06:19:32.120" v="5003"/>
          <ac:cxnSpMkLst>
            <pc:docMk/>
            <pc:sldMk cId="1121314240" sldId="335"/>
            <ac:cxnSpMk id="147" creationId="{F3EAEB43-665B-4EBA-9F66-A3D4419F4DAD}"/>
          </ac:cxnSpMkLst>
        </pc:cxnChg>
        <pc:cxnChg chg="add del mod ord">
          <ac:chgData name="Wang, David" userId="5ba1598c-ec07-46f3-a0aa-a1cc2acb9765" providerId="ADAL" clId="{14C079B1-3763-444B-B216-374EF69EE7DF}" dt="2021-07-26T06:19:32.120" v="5001"/>
          <ac:cxnSpMkLst>
            <pc:docMk/>
            <pc:sldMk cId="1121314240" sldId="335"/>
            <ac:cxnSpMk id="148" creationId="{49202060-24DA-49FD-AD49-2EDB75CADA9F}"/>
          </ac:cxnSpMkLst>
        </pc:cxnChg>
        <pc:cxnChg chg="add del mod ord">
          <ac:chgData name="Wang, David" userId="5ba1598c-ec07-46f3-a0aa-a1cc2acb9765" providerId="ADAL" clId="{14C079B1-3763-444B-B216-374EF69EE7DF}" dt="2021-07-26T06:19:32.105" v="4999"/>
          <ac:cxnSpMkLst>
            <pc:docMk/>
            <pc:sldMk cId="1121314240" sldId="335"/>
            <ac:cxnSpMk id="149" creationId="{CF7EFEB9-E5A9-474E-A441-EF9DEC01A2D2}"/>
          </ac:cxnSpMkLst>
        </pc:cxnChg>
        <pc:cxnChg chg="add del mod ord">
          <ac:chgData name="Wang, David" userId="5ba1598c-ec07-46f3-a0aa-a1cc2acb9765" providerId="ADAL" clId="{14C079B1-3763-444B-B216-374EF69EE7DF}" dt="2021-07-26T06:19:32.105" v="4997"/>
          <ac:cxnSpMkLst>
            <pc:docMk/>
            <pc:sldMk cId="1121314240" sldId="335"/>
            <ac:cxnSpMk id="150" creationId="{A1CBEE1D-82B5-46C0-83D1-C28311B5B51F}"/>
          </ac:cxnSpMkLst>
        </pc:cxnChg>
        <pc:cxnChg chg="add del mod ord">
          <ac:chgData name="Wang, David" userId="5ba1598c-ec07-46f3-a0aa-a1cc2acb9765" providerId="ADAL" clId="{14C079B1-3763-444B-B216-374EF69EE7DF}" dt="2021-07-26T06:19:32.105" v="4995"/>
          <ac:cxnSpMkLst>
            <pc:docMk/>
            <pc:sldMk cId="1121314240" sldId="335"/>
            <ac:cxnSpMk id="151" creationId="{460D368A-EA53-426A-9967-3E9F4BF97406}"/>
          </ac:cxnSpMkLst>
        </pc:cxnChg>
        <pc:cxnChg chg="add del mod ord">
          <ac:chgData name="Wang, David" userId="5ba1598c-ec07-46f3-a0aa-a1cc2acb9765" providerId="ADAL" clId="{14C079B1-3763-444B-B216-374EF69EE7DF}" dt="2021-07-26T06:19:32.105" v="4993"/>
          <ac:cxnSpMkLst>
            <pc:docMk/>
            <pc:sldMk cId="1121314240" sldId="335"/>
            <ac:cxnSpMk id="152" creationId="{C2F686AA-0841-4E31-935B-A56B31A119D4}"/>
          </ac:cxnSpMkLst>
        </pc:cxnChg>
        <pc:cxnChg chg="add del mod ord">
          <ac:chgData name="Wang, David" userId="5ba1598c-ec07-46f3-a0aa-a1cc2acb9765" providerId="ADAL" clId="{14C079B1-3763-444B-B216-374EF69EE7DF}" dt="2021-07-26T06:19:32.105" v="4991"/>
          <ac:cxnSpMkLst>
            <pc:docMk/>
            <pc:sldMk cId="1121314240" sldId="335"/>
            <ac:cxnSpMk id="153" creationId="{1FC5E4C1-2891-43D0-AB49-A07603CE513C}"/>
          </ac:cxnSpMkLst>
        </pc:cxnChg>
        <pc:cxnChg chg="add del mod ord">
          <ac:chgData name="Wang, David" userId="5ba1598c-ec07-46f3-a0aa-a1cc2acb9765" providerId="ADAL" clId="{14C079B1-3763-444B-B216-374EF69EE7DF}" dt="2021-07-26T06:19:32.105" v="4989"/>
          <ac:cxnSpMkLst>
            <pc:docMk/>
            <pc:sldMk cId="1121314240" sldId="335"/>
            <ac:cxnSpMk id="154" creationId="{94D22F63-2759-4CF7-A4E7-D72869BE501A}"/>
          </ac:cxnSpMkLst>
        </pc:cxnChg>
        <pc:cxnChg chg="add del mod ord">
          <ac:chgData name="Wang, David" userId="5ba1598c-ec07-46f3-a0aa-a1cc2acb9765" providerId="ADAL" clId="{14C079B1-3763-444B-B216-374EF69EE7DF}" dt="2021-07-26T06:19:32.089" v="4987"/>
          <ac:cxnSpMkLst>
            <pc:docMk/>
            <pc:sldMk cId="1121314240" sldId="335"/>
            <ac:cxnSpMk id="155" creationId="{75213C22-782E-4486-A64C-84F14DA26067}"/>
          </ac:cxnSpMkLst>
        </pc:cxnChg>
        <pc:cxnChg chg="add del mod ord">
          <ac:chgData name="Wang, David" userId="5ba1598c-ec07-46f3-a0aa-a1cc2acb9765" providerId="ADAL" clId="{14C079B1-3763-444B-B216-374EF69EE7DF}" dt="2021-07-26T06:19:32.089" v="4985"/>
          <ac:cxnSpMkLst>
            <pc:docMk/>
            <pc:sldMk cId="1121314240" sldId="335"/>
            <ac:cxnSpMk id="156" creationId="{FED777FB-189B-406D-9C87-8F2F97FCF176}"/>
          </ac:cxnSpMkLst>
        </pc:cxnChg>
        <pc:cxnChg chg="add del mod ord">
          <ac:chgData name="Wang, David" userId="5ba1598c-ec07-46f3-a0aa-a1cc2acb9765" providerId="ADAL" clId="{14C079B1-3763-444B-B216-374EF69EE7DF}" dt="2021-07-26T06:19:32.089" v="4983"/>
          <ac:cxnSpMkLst>
            <pc:docMk/>
            <pc:sldMk cId="1121314240" sldId="335"/>
            <ac:cxnSpMk id="157" creationId="{099183E6-3BD1-4079-9602-B65DAA6DA2FB}"/>
          </ac:cxnSpMkLst>
        </pc:cxnChg>
        <pc:cxnChg chg="add del mod ord">
          <ac:chgData name="Wang, David" userId="5ba1598c-ec07-46f3-a0aa-a1cc2acb9765" providerId="ADAL" clId="{14C079B1-3763-444B-B216-374EF69EE7DF}" dt="2021-07-26T06:19:32.089" v="4981"/>
          <ac:cxnSpMkLst>
            <pc:docMk/>
            <pc:sldMk cId="1121314240" sldId="335"/>
            <ac:cxnSpMk id="158" creationId="{FC2A50B5-4CF3-40E5-877F-B7B96A03224F}"/>
          </ac:cxnSpMkLst>
        </pc:cxnChg>
        <pc:cxnChg chg="add del mod ord">
          <ac:chgData name="Wang, David" userId="5ba1598c-ec07-46f3-a0aa-a1cc2acb9765" providerId="ADAL" clId="{14C079B1-3763-444B-B216-374EF69EE7DF}" dt="2021-07-26T06:19:32.174" v="5043"/>
          <ac:cxnSpMkLst>
            <pc:docMk/>
            <pc:sldMk cId="1121314240" sldId="335"/>
            <ac:cxnSpMk id="169" creationId="{93C391E2-2926-44F2-8946-776D49403A9C}"/>
          </ac:cxnSpMkLst>
        </pc:cxnChg>
        <pc:cxnChg chg="add del mod ord">
          <ac:chgData name="Wang, David" userId="5ba1598c-ec07-46f3-a0aa-a1cc2acb9765" providerId="ADAL" clId="{14C079B1-3763-444B-B216-374EF69EE7DF}" dt="2021-07-26T06:19:32.174" v="5041"/>
          <ac:cxnSpMkLst>
            <pc:docMk/>
            <pc:sldMk cId="1121314240" sldId="335"/>
            <ac:cxnSpMk id="170" creationId="{6745F9C6-17D5-4BDA-984E-DAE593807B0D}"/>
          </ac:cxnSpMkLst>
        </pc:cxnChg>
        <pc:cxnChg chg="add del mod ord">
          <ac:chgData name="Wang, David" userId="5ba1598c-ec07-46f3-a0aa-a1cc2acb9765" providerId="ADAL" clId="{14C079B1-3763-444B-B216-374EF69EE7DF}" dt="2021-07-26T06:19:32.174" v="5039"/>
          <ac:cxnSpMkLst>
            <pc:docMk/>
            <pc:sldMk cId="1121314240" sldId="335"/>
            <ac:cxnSpMk id="171" creationId="{3309EF3B-F587-4631-B8D3-BEE1BBE7A03B}"/>
          </ac:cxnSpMkLst>
        </pc:cxnChg>
        <pc:cxnChg chg="add del mod ord">
          <ac:chgData name="Wang, David" userId="5ba1598c-ec07-46f3-a0aa-a1cc2acb9765" providerId="ADAL" clId="{14C079B1-3763-444B-B216-374EF69EE7DF}" dt="2021-07-26T06:19:32.174" v="5037"/>
          <ac:cxnSpMkLst>
            <pc:docMk/>
            <pc:sldMk cId="1121314240" sldId="335"/>
            <ac:cxnSpMk id="172" creationId="{87326887-9004-4F82-89D2-1C3ED51357BE}"/>
          </ac:cxnSpMkLst>
        </pc:cxnChg>
        <pc:cxnChg chg="add del mod ord">
          <ac:chgData name="Wang, David" userId="5ba1598c-ec07-46f3-a0aa-a1cc2acb9765" providerId="ADAL" clId="{14C079B1-3763-444B-B216-374EF69EE7DF}" dt="2021-07-26T06:19:32.167" v="5035"/>
          <ac:cxnSpMkLst>
            <pc:docMk/>
            <pc:sldMk cId="1121314240" sldId="335"/>
            <ac:cxnSpMk id="173" creationId="{CE3DB0D6-98F3-4BB4-B5DF-6C825DC6848A}"/>
          </ac:cxnSpMkLst>
        </pc:cxnChg>
        <pc:cxnChg chg="add del mod ord">
          <ac:chgData name="Wang, David" userId="5ba1598c-ec07-46f3-a0aa-a1cc2acb9765" providerId="ADAL" clId="{14C079B1-3763-444B-B216-374EF69EE7DF}" dt="2021-07-26T06:19:32.167" v="5033"/>
          <ac:cxnSpMkLst>
            <pc:docMk/>
            <pc:sldMk cId="1121314240" sldId="335"/>
            <ac:cxnSpMk id="174" creationId="{96B17CB2-8A95-4083-B6B1-81E622B4C393}"/>
          </ac:cxnSpMkLst>
        </pc:cxnChg>
        <pc:cxnChg chg="add del mod ord">
          <ac:chgData name="Wang, David" userId="5ba1598c-ec07-46f3-a0aa-a1cc2acb9765" providerId="ADAL" clId="{14C079B1-3763-444B-B216-374EF69EE7DF}" dt="2021-07-26T06:19:32.151" v="5031"/>
          <ac:cxnSpMkLst>
            <pc:docMk/>
            <pc:sldMk cId="1121314240" sldId="335"/>
            <ac:cxnSpMk id="175" creationId="{BE85EBBA-7ACE-4052-9534-7DF0C57CF66E}"/>
          </ac:cxnSpMkLst>
        </pc:cxnChg>
        <pc:cxnChg chg="add del mod ord">
          <ac:chgData name="Wang, David" userId="5ba1598c-ec07-46f3-a0aa-a1cc2acb9765" providerId="ADAL" clId="{14C079B1-3763-444B-B216-374EF69EE7DF}" dt="2021-07-26T06:19:32.089" v="4979"/>
          <ac:cxnSpMkLst>
            <pc:docMk/>
            <pc:sldMk cId="1121314240" sldId="335"/>
            <ac:cxnSpMk id="176" creationId="{3EE0106F-1CF3-4D81-97DA-EC85402636A8}"/>
          </ac:cxnSpMkLst>
        </pc:cxnChg>
        <pc:cxnChg chg="add del mod ord">
          <ac:chgData name="Wang, David" userId="5ba1598c-ec07-46f3-a0aa-a1cc2acb9765" providerId="ADAL" clId="{14C079B1-3763-444B-B216-374EF69EE7DF}" dt="2021-07-26T06:19:32.073" v="4977"/>
          <ac:cxnSpMkLst>
            <pc:docMk/>
            <pc:sldMk cId="1121314240" sldId="335"/>
            <ac:cxnSpMk id="177" creationId="{7DD27849-2A43-49FF-BFCD-5C6DDF9F5A01}"/>
          </ac:cxnSpMkLst>
        </pc:cxnChg>
        <pc:cxnChg chg="add del mod ord">
          <ac:chgData name="Wang, David" userId="5ba1598c-ec07-46f3-a0aa-a1cc2acb9765" providerId="ADAL" clId="{14C079B1-3763-444B-B216-374EF69EE7DF}" dt="2021-07-26T06:19:32.073" v="4975"/>
          <ac:cxnSpMkLst>
            <pc:docMk/>
            <pc:sldMk cId="1121314240" sldId="335"/>
            <ac:cxnSpMk id="178" creationId="{CCC46724-DCBD-4415-A8FF-6A1C445CA2B4}"/>
          </ac:cxnSpMkLst>
        </pc:cxnChg>
        <pc:cxnChg chg="add del mod ord">
          <ac:chgData name="Wang, David" userId="5ba1598c-ec07-46f3-a0aa-a1cc2acb9765" providerId="ADAL" clId="{14C079B1-3763-444B-B216-374EF69EE7DF}" dt="2021-07-26T06:19:32.073" v="4973"/>
          <ac:cxnSpMkLst>
            <pc:docMk/>
            <pc:sldMk cId="1121314240" sldId="335"/>
            <ac:cxnSpMk id="179" creationId="{1AC0E221-2016-441B-BA2B-D1E234CEE211}"/>
          </ac:cxnSpMkLst>
        </pc:cxnChg>
        <pc:cxnChg chg="add del mod ord">
          <ac:chgData name="Wang, David" userId="5ba1598c-ec07-46f3-a0aa-a1cc2acb9765" providerId="ADAL" clId="{14C079B1-3763-444B-B216-374EF69EE7DF}" dt="2021-07-26T06:19:32.073" v="4971"/>
          <ac:cxnSpMkLst>
            <pc:docMk/>
            <pc:sldMk cId="1121314240" sldId="335"/>
            <ac:cxnSpMk id="180" creationId="{47777B2F-5267-4273-AE9B-50B39C011ACF}"/>
          </ac:cxnSpMkLst>
        </pc:cxnChg>
        <pc:cxnChg chg="add del mod ord">
          <ac:chgData name="Wang, David" userId="5ba1598c-ec07-46f3-a0aa-a1cc2acb9765" providerId="ADAL" clId="{14C079B1-3763-444B-B216-374EF69EE7DF}" dt="2021-07-26T06:19:32.073" v="4969"/>
          <ac:cxnSpMkLst>
            <pc:docMk/>
            <pc:sldMk cId="1121314240" sldId="335"/>
            <ac:cxnSpMk id="181" creationId="{C9788DDF-43E4-471C-AE0B-96E217D4682F}"/>
          </ac:cxnSpMkLst>
        </pc:cxnChg>
        <pc:cxnChg chg="add del mod ord">
          <ac:chgData name="Wang, David" userId="5ba1598c-ec07-46f3-a0aa-a1cc2acb9765" providerId="ADAL" clId="{14C079B1-3763-444B-B216-374EF69EE7DF}" dt="2021-07-26T06:19:32.073" v="4967"/>
          <ac:cxnSpMkLst>
            <pc:docMk/>
            <pc:sldMk cId="1121314240" sldId="335"/>
            <ac:cxnSpMk id="182" creationId="{DC545663-FBF2-4827-9EA8-3EEC5214D52A}"/>
          </ac:cxnSpMkLst>
        </pc:cxnChg>
        <pc:cxnChg chg="add del mod ord">
          <ac:chgData name="Wang, David" userId="5ba1598c-ec07-46f3-a0aa-a1cc2acb9765" providerId="ADAL" clId="{14C079B1-3763-444B-B216-374EF69EE7DF}" dt="2021-07-26T06:19:32.067" v="4965"/>
          <ac:cxnSpMkLst>
            <pc:docMk/>
            <pc:sldMk cId="1121314240" sldId="335"/>
            <ac:cxnSpMk id="183" creationId="{3A7E31AC-AC99-459D-9764-D9981E265627}"/>
          </ac:cxnSpMkLst>
        </pc:cxnChg>
        <pc:cxnChg chg="add del mod ord">
          <ac:chgData name="Wang, David" userId="5ba1598c-ec07-46f3-a0aa-a1cc2acb9765" providerId="ADAL" clId="{14C079B1-3763-444B-B216-374EF69EE7DF}" dt="2021-07-26T06:19:32.067" v="4963"/>
          <ac:cxnSpMkLst>
            <pc:docMk/>
            <pc:sldMk cId="1121314240" sldId="335"/>
            <ac:cxnSpMk id="184" creationId="{E6226CF6-F54D-4F1D-AFBF-F5C883921886}"/>
          </ac:cxnSpMkLst>
        </pc:cxnChg>
        <pc:cxnChg chg="add del mod ord">
          <ac:chgData name="Wang, David" userId="5ba1598c-ec07-46f3-a0aa-a1cc2acb9765" providerId="ADAL" clId="{14C079B1-3763-444B-B216-374EF69EE7DF}" dt="2021-07-26T06:19:32.051" v="4961"/>
          <ac:cxnSpMkLst>
            <pc:docMk/>
            <pc:sldMk cId="1121314240" sldId="335"/>
            <ac:cxnSpMk id="185" creationId="{2E9C3601-C06A-47D0-9ED5-4B6F3A0F52AA}"/>
          </ac:cxnSpMkLst>
        </pc:cxnChg>
        <pc:cxnChg chg="add del mod ord">
          <ac:chgData name="Wang, David" userId="5ba1598c-ec07-46f3-a0aa-a1cc2acb9765" providerId="ADAL" clId="{14C079B1-3763-444B-B216-374EF69EE7DF}" dt="2021-07-26T06:19:32.051" v="4959"/>
          <ac:cxnSpMkLst>
            <pc:docMk/>
            <pc:sldMk cId="1121314240" sldId="335"/>
            <ac:cxnSpMk id="186" creationId="{485A463D-790B-4BAD-B13B-AC7A3F5EDE9D}"/>
          </ac:cxnSpMkLst>
        </pc:cxnChg>
        <pc:cxnChg chg="add del mod ord">
          <ac:chgData name="Wang, David" userId="5ba1598c-ec07-46f3-a0aa-a1cc2acb9765" providerId="ADAL" clId="{14C079B1-3763-444B-B216-374EF69EE7DF}" dt="2021-07-26T06:19:32.051" v="4957"/>
          <ac:cxnSpMkLst>
            <pc:docMk/>
            <pc:sldMk cId="1121314240" sldId="335"/>
            <ac:cxnSpMk id="187" creationId="{DFF98353-4CA1-42E6-B69B-A5BEA5CEFA6F}"/>
          </ac:cxnSpMkLst>
        </pc:cxnChg>
        <pc:cxnChg chg="add del mod ord">
          <ac:chgData name="Wang, David" userId="5ba1598c-ec07-46f3-a0aa-a1cc2acb9765" providerId="ADAL" clId="{14C079B1-3763-444B-B216-374EF69EE7DF}" dt="2021-07-26T06:19:32.051" v="4955"/>
          <ac:cxnSpMkLst>
            <pc:docMk/>
            <pc:sldMk cId="1121314240" sldId="335"/>
            <ac:cxnSpMk id="188" creationId="{10B7FC9A-DFFD-4BB4-8C22-74ECA53417D2}"/>
          </ac:cxnSpMkLst>
        </pc:cxnChg>
        <pc:cxnChg chg="add del mod ord">
          <ac:chgData name="Wang, David" userId="5ba1598c-ec07-46f3-a0aa-a1cc2acb9765" providerId="ADAL" clId="{14C079B1-3763-444B-B216-374EF69EE7DF}" dt="2021-07-26T06:19:32.051" v="4953"/>
          <ac:cxnSpMkLst>
            <pc:docMk/>
            <pc:sldMk cId="1121314240" sldId="335"/>
            <ac:cxnSpMk id="189" creationId="{F4A1FC52-80C4-4478-8117-8D5BAACF6F01}"/>
          </ac:cxnSpMkLst>
        </pc:cxnChg>
        <pc:cxnChg chg="add del mod ord">
          <ac:chgData name="Wang, David" userId="5ba1598c-ec07-46f3-a0aa-a1cc2acb9765" providerId="ADAL" clId="{14C079B1-3763-444B-B216-374EF69EE7DF}" dt="2021-07-26T06:19:32.051" v="4951"/>
          <ac:cxnSpMkLst>
            <pc:docMk/>
            <pc:sldMk cId="1121314240" sldId="335"/>
            <ac:cxnSpMk id="190" creationId="{60E7D03A-6E25-4600-ADFF-6CD404B3CEB9}"/>
          </ac:cxnSpMkLst>
        </pc:cxnChg>
        <pc:cxnChg chg="add del mod ord">
          <ac:chgData name="Wang, David" userId="5ba1598c-ec07-46f3-a0aa-a1cc2acb9765" providerId="ADAL" clId="{14C079B1-3763-444B-B216-374EF69EE7DF}" dt="2021-07-26T06:19:32.036" v="4949"/>
          <ac:cxnSpMkLst>
            <pc:docMk/>
            <pc:sldMk cId="1121314240" sldId="335"/>
            <ac:cxnSpMk id="191" creationId="{E534D122-15CF-4739-A632-FB173B097CC2}"/>
          </ac:cxnSpMkLst>
        </pc:cxnChg>
        <pc:cxnChg chg="add del mod ord">
          <ac:chgData name="Wang, David" userId="5ba1598c-ec07-46f3-a0aa-a1cc2acb9765" providerId="ADAL" clId="{14C079B1-3763-444B-B216-374EF69EE7DF}" dt="2021-07-26T06:19:32.036" v="4947"/>
          <ac:cxnSpMkLst>
            <pc:docMk/>
            <pc:sldMk cId="1121314240" sldId="335"/>
            <ac:cxnSpMk id="192" creationId="{7EB87D3F-9CF8-49E0-85CA-139274629838}"/>
          </ac:cxnSpMkLst>
        </pc:cxnChg>
        <pc:cxnChg chg="add del mod ord">
          <ac:chgData name="Wang, David" userId="5ba1598c-ec07-46f3-a0aa-a1cc2acb9765" providerId="ADAL" clId="{14C079B1-3763-444B-B216-374EF69EE7DF}" dt="2021-07-26T06:19:32.036" v="4945"/>
          <ac:cxnSpMkLst>
            <pc:docMk/>
            <pc:sldMk cId="1121314240" sldId="335"/>
            <ac:cxnSpMk id="193" creationId="{1EC10FB4-996C-40CD-9F83-2BE383A53615}"/>
          </ac:cxnSpMkLst>
        </pc:cxnChg>
        <pc:cxnChg chg="add del mod ord">
          <ac:chgData name="Wang, David" userId="5ba1598c-ec07-46f3-a0aa-a1cc2acb9765" providerId="ADAL" clId="{14C079B1-3763-444B-B216-374EF69EE7DF}" dt="2021-07-26T06:19:32.036" v="4943"/>
          <ac:cxnSpMkLst>
            <pc:docMk/>
            <pc:sldMk cId="1121314240" sldId="335"/>
            <ac:cxnSpMk id="194" creationId="{D05CF38B-2303-4B73-AF87-9A02408B8163}"/>
          </ac:cxnSpMkLst>
        </pc:cxnChg>
        <pc:cxnChg chg="add del mod ord">
          <ac:chgData name="Wang, David" userId="5ba1598c-ec07-46f3-a0aa-a1cc2acb9765" providerId="ADAL" clId="{14C079B1-3763-444B-B216-374EF69EE7DF}" dt="2021-07-26T06:19:32.036" v="4941"/>
          <ac:cxnSpMkLst>
            <pc:docMk/>
            <pc:sldMk cId="1121314240" sldId="335"/>
            <ac:cxnSpMk id="195" creationId="{D0CCEA5E-EDB2-44B6-A8F3-E6DBF510CD60}"/>
          </ac:cxnSpMkLst>
        </pc:cxnChg>
        <pc:cxnChg chg="add del mod ord">
          <ac:chgData name="Wang, David" userId="5ba1598c-ec07-46f3-a0aa-a1cc2acb9765" providerId="ADAL" clId="{14C079B1-3763-444B-B216-374EF69EE7DF}" dt="2021-07-26T06:19:32.020" v="4939"/>
          <ac:cxnSpMkLst>
            <pc:docMk/>
            <pc:sldMk cId="1121314240" sldId="335"/>
            <ac:cxnSpMk id="196" creationId="{6CD38344-FEAF-42DA-BF51-C780D1F05592}"/>
          </ac:cxnSpMkLst>
        </pc:cxnChg>
        <pc:cxnChg chg="add del mod ord">
          <ac:chgData name="Wang, David" userId="5ba1598c-ec07-46f3-a0aa-a1cc2acb9765" providerId="ADAL" clId="{14C079B1-3763-444B-B216-374EF69EE7DF}" dt="2021-07-26T06:19:32.020" v="4937"/>
          <ac:cxnSpMkLst>
            <pc:docMk/>
            <pc:sldMk cId="1121314240" sldId="335"/>
            <ac:cxnSpMk id="197" creationId="{EE390658-F107-43C3-A898-B75C34BF6ECB}"/>
          </ac:cxnSpMkLst>
        </pc:cxnChg>
        <pc:cxnChg chg="add del mod ord">
          <ac:chgData name="Wang, David" userId="5ba1598c-ec07-46f3-a0aa-a1cc2acb9765" providerId="ADAL" clId="{14C079B1-3763-444B-B216-374EF69EE7DF}" dt="2021-07-26T06:19:32.020" v="4935"/>
          <ac:cxnSpMkLst>
            <pc:docMk/>
            <pc:sldMk cId="1121314240" sldId="335"/>
            <ac:cxnSpMk id="198" creationId="{A824C1BF-A823-4243-8955-5A51AD126CCD}"/>
          </ac:cxnSpMkLst>
        </pc:cxnChg>
        <pc:cxnChg chg="add del mod ord">
          <ac:chgData name="Wang, David" userId="5ba1598c-ec07-46f3-a0aa-a1cc2acb9765" providerId="ADAL" clId="{14C079B1-3763-444B-B216-374EF69EE7DF}" dt="2021-07-26T06:19:32.020" v="4933"/>
          <ac:cxnSpMkLst>
            <pc:docMk/>
            <pc:sldMk cId="1121314240" sldId="335"/>
            <ac:cxnSpMk id="199" creationId="{28188B5A-F2BA-4245-9B20-CA59E43B82EE}"/>
          </ac:cxnSpMkLst>
        </pc:cxnChg>
        <pc:cxnChg chg="add del mod ord">
          <ac:chgData name="Wang, David" userId="5ba1598c-ec07-46f3-a0aa-a1cc2acb9765" providerId="ADAL" clId="{14C079B1-3763-444B-B216-374EF69EE7DF}" dt="2021-07-26T06:19:32.020" v="4931"/>
          <ac:cxnSpMkLst>
            <pc:docMk/>
            <pc:sldMk cId="1121314240" sldId="335"/>
            <ac:cxnSpMk id="200" creationId="{7B7117D6-8869-4BF6-9DA2-AA5012CBC23C}"/>
          </ac:cxnSpMkLst>
        </pc:cxnChg>
        <pc:cxnChg chg="add del mod ord">
          <ac:chgData name="Wang, David" userId="5ba1598c-ec07-46f3-a0aa-a1cc2acb9765" providerId="ADAL" clId="{14C079B1-3763-444B-B216-374EF69EE7DF}" dt="2021-07-26T06:19:32.004" v="4929"/>
          <ac:cxnSpMkLst>
            <pc:docMk/>
            <pc:sldMk cId="1121314240" sldId="335"/>
            <ac:cxnSpMk id="201" creationId="{54CD0114-C41F-46CB-B95F-180F29C9861D}"/>
          </ac:cxnSpMkLst>
        </pc:cxnChg>
        <pc:cxnChg chg="add del mod ord">
          <ac:chgData name="Wang, David" userId="5ba1598c-ec07-46f3-a0aa-a1cc2acb9765" providerId="ADAL" clId="{14C079B1-3763-444B-B216-374EF69EE7DF}" dt="2021-07-26T06:19:32.004" v="4927"/>
          <ac:cxnSpMkLst>
            <pc:docMk/>
            <pc:sldMk cId="1121314240" sldId="335"/>
            <ac:cxnSpMk id="202" creationId="{AFB327F2-1573-43C8-AEF5-701FA040F0B1}"/>
          </ac:cxnSpMkLst>
        </pc:cxnChg>
        <pc:cxnChg chg="add del mod ord">
          <ac:chgData name="Wang, David" userId="5ba1598c-ec07-46f3-a0aa-a1cc2acb9765" providerId="ADAL" clId="{14C079B1-3763-444B-B216-374EF69EE7DF}" dt="2021-07-26T06:19:32.004" v="4925"/>
          <ac:cxnSpMkLst>
            <pc:docMk/>
            <pc:sldMk cId="1121314240" sldId="335"/>
            <ac:cxnSpMk id="203" creationId="{11B53315-E9D1-48C0-B7FC-06436F8305BF}"/>
          </ac:cxnSpMkLst>
        </pc:cxnChg>
        <pc:cxnChg chg="add del mod ord">
          <ac:chgData name="Wang, David" userId="5ba1598c-ec07-46f3-a0aa-a1cc2acb9765" providerId="ADAL" clId="{14C079B1-3763-444B-B216-374EF69EE7DF}" dt="2021-07-26T06:19:32.004" v="4923"/>
          <ac:cxnSpMkLst>
            <pc:docMk/>
            <pc:sldMk cId="1121314240" sldId="335"/>
            <ac:cxnSpMk id="204" creationId="{D4FAB4DA-4F18-4672-84FC-A7065B9A91C1}"/>
          </ac:cxnSpMkLst>
        </pc:cxnChg>
        <pc:cxnChg chg="add del mod ord">
          <ac:chgData name="Wang, David" userId="5ba1598c-ec07-46f3-a0aa-a1cc2acb9765" providerId="ADAL" clId="{14C079B1-3763-444B-B216-374EF69EE7DF}" dt="2021-07-26T06:19:32.004" v="4921"/>
          <ac:cxnSpMkLst>
            <pc:docMk/>
            <pc:sldMk cId="1121314240" sldId="335"/>
            <ac:cxnSpMk id="205" creationId="{FC04D89F-C4F5-467A-8961-2B75A96ADB1F}"/>
          </ac:cxnSpMkLst>
        </pc:cxnChg>
        <pc:cxnChg chg="add mod ord">
          <ac:chgData name="Wang, David" userId="5ba1598c-ec07-46f3-a0aa-a1cc2acb9765" providerId="ADAL" clId="{14C079B1-3763-444B-B216-374EF69EE7DF}" dt="2021-07-26T08:47:54.200" v="22824"/>
          <ac:cxnSpMkLst>
            <pc:docMk/>
            <pc:sldMk cId="1121314240" sldId="335"/>
            <ac:cxnSpMk id="219" creationId="{95B708BE-B96A-425B-8F6D-532A98226894}"/>
          </ac:cxnSpMkLst>
        </pc:cxnChg>
        <pc:cxnChg chg="add mod ord">
          <ac:chgData name="Wang, David" userId="5ba1598c-ec07-46f3-a0aa-a1cc2acb9765" providerId="ADAL" clId="{14C079B1-3763-444B-B216-374EF69EE7DF}" dt="2021-07-26T08:47:54.204" v="22842"/>
          <ac:cxnSpMkLst>
            <pc:docMk/>
            <pc:sldMk cId="1121314240" sldId="335"/>
            <ac:cxnSpMk id="220" creationId="{898C7E80-E672-4890-8A6A-BFB6822CAF10}"/>
          </ac:cxnSpMkLst>
        </pc:cxnChg>
        <pc:cxnChg chg="add del mod ord">
          <ac:chgData name="Wang, David" userId="5ba1598c-ec07-46f3-a0aa-a1cc2acb9765" providerId="ADAL" clId="{14C079B1-3763-444B-B216-374EF69EE7DF}" dt="2021-07-26T06:29:12.803" v="11805"/>
          <ac:cxnSpMkLst>
            <pc:docMk/>
            <pc:sldMk cId="1121314240" sldId="335"/>
            <ac:cxnSpMk id="221" creationId="{16F50417-B988-44E5-9E2A-E625DDB2E0A0}"/>
          </ac:cxnSpMkLst>
        </pc:cxnChg>
        <pc:cxnChg chg="add mod ord">
          <ac:chgData name="Wang, David" userId="5ba1598c-ec07-46f3-a0aa-a1cc2acb9765" providerId="ADAL" clId="{14C079B1-3763-444B-B216-374EF69EE7DF}" dt="2021-07-26T08:47:54.203" v="22838"/>
          <ac:cxnSpMkLst>
            <pc:docMk/>
            <pc:sldMk cId="1121314240" sldId="335"/>
            <ac:cxnSpMk id="222" creationId="{9E54490D-7710-438E-85CE-90B5E3D97DAB}"/>
          </ac:cxnSpMkLst>
        </pc:cxnChg>
        <pc:cxnChg chg="add mod ord">
          <ac:chgData name="Wang, David" userId="5ba1598c-ec07-46f3-a0aa-a1cc2acb9765" providerId="ADAL" clId="{14C079B1-3763-444B-B216-374EF69EE7DF}" dt="2021-07-26T08:47:54.201" v="22830"/>
          <ac:cxnSpMkLst>
            <pc:docMk/>
            <pc:sldMk cId="1121314240" sldId="335"/>
            <ac:cxnSpMk id="223" creationId="{FE9E4FF0-6F82-407D-BE55-B4BC5E4AE1F8}"/>
          </ac:cxnSpMkLst>
        </pc:cxnChg>
        <pc:cxnChg chg="add del mod ord">
          <ac:chgData name="Wang, David" userId="5ba1598c-ec07-46f3-a0aa-a1cc2acb9765" providerId="ADAL" clId="{14C079B1-3763-444B-B216-374EF69EE7DF}" dt="2021-07-26T08:47:54.202" v="22834"/>
          <ac:cxnSpMkLst>
            <pc:docMk/>
            <pc:sldMk cId="1121314240" sldId="335"/>
            <ac:cxnSpMk id="224" creationId="{C821A027-C170-4C7C-AE38-DDE6E5D20B2C}"/>
          </ac:cxnSpMkLst>
        </pc:cxnChg>
        <pc:cxnChg chg="add mod ord">
          <ac:chgData name="Wang, David" userId="5ba1598c-ec07-46f3-a0aa-a1cc2acb9765" providerId="ADAL" clId="{14C079B1-3763-444B-B216-374EF69EE7DF}" dt="2021-07-26T08:47:54.203" v="22836"/>
          <ac:cxnSpMkLst>
            <pc:docMk/>
            <pc:sldMk cId="1121314240" sldId="335"/>
            <ac:cxnSpMk id="225" creationId="{B2892B2A-2DFA-4279-BC51-326F1ECA6795}"/>
          </ac:cxnSpMkLst>
        </pc:cxnChg>
        <pc:cxnChg chg="add mod ord">
          <ac:chgData name="Wang, David" userId="5ba1598c-ec07-46f3-a0aa-a1cc2acb9765" providerId="ADAL" clId="{14C079B1-3763-444B-B216-374EF69EE7DF}" dt="2021-07-26T08:47:54.204" v="22840"/>
          <ac:cxnSpMkLst>
            <pc:docMk/>
            <pc:sldMk cId="1121314240" sldId="335"/>
            <ac:cxnSpMk id="226" creationId="{A61AE575-F2D7-4572-9022-508021FC1CDC}"/>
          </ac:cxnSpMkLst>
        </pc:cxnChg>
        <pc:cxnChg chg="add mod ord">
          <ac:chgData name="Wang, David" userId="5ba1598c-ec07-46f3-a0aa-a1cc2acb9765" providerId="ADAL" clId="{14C079B1-3763-444B-B216-374EF69EE7DF}" dt="2021-07-26T08:47:54.206" v="22846"/>
          <ac:cxnSpMkLst>
            <pc:docMk/>
            <pc:sldMk cId="1121314240" sldId="335"/>
            <ac:cxnSpMk id="227" creationId="{79105BC4-B266-45F3-BB0F-1D89E0F91C29}"/>
          </ac:cxnSpMkLst>
        </pc:cxnChg>
        <pc:cxnChg chg="add mod ord">
          <ac:chgData name="Wang, David" userId="5ba1598c-ec07-46f3-a0aa-a1cc2acb9765" providerId="ADAL" clId="{14C079B1-3763-444B-B216-374EF69EE7DF}" dt="2021-07-26T08:47:54.201" v="22828"/>
          <ac:cxnSpMkLst>
            <pc:docMk/>
            <pc:sldMk cId="1121314240" sldId="335"/>
            <ac:cxnSpMk id="228" creationId="{C8582662-0EB7-477E-AC97-B76DB2CBB0AA}"/>
          </ac:cxnSpMkLst>
        </pc:cxnChg>
        <pc:cxnChg chg="add del mod ord">
          <ac:chgData name="Wang, David" userId="5ba1598c-ec07-46f3-a0aa-a1cc2acb9765" providerId="ADAL" clId="{14C079B1-3763-444B-B216-374EF69EE7DF}" dt="2021-07-26T08:47:54.200" v="22826"/>
          <ac:cxnSpMkLst>
            <pc:docMk/>
            <pc:sldMk cId="1121314240" sldId="335"/>
            <ac:cxnSpMk id="229" creationId="{F15A0E99-E5D3-4AE0-9087-11A4A27B91AB}"/>
          </ac:cxnSpMkLst>
        </pc:cxnChg>
        <pc:cxnChg chg="add mod ord">
          <ac:chgData name="Wang, David" userId="5ba1598c-ec07-46f3-a0aa-a1cc2acb9765" providerId="ADAL" clId="{14C079B1-3763-444B-B216-374EF69EE7DF}" dt="2021-07-26T08:47:54.205" v="22844"/>
          <ac:cxnSpMkLst>
            <pc:docMk/>
            <pc:sldMk cId="1121314240" sldId="335"/>
            <ac:cxnSpMk id="230" creationId="{30748805-D537-4C19-82DE-0F236430D07E}"/>
          </ac:cxnSpMkLst>
        </pc:cxnChg>
        <pc:cxnChg chg="add mod ord">
          <ac:chgData name="Wang, David" userId="5ba1598c-ec07-46f3-a0aa-a1cc2acb9765" providerId="ADAL" clId="{14C079B1-3763-444B-B216-374EF69EE7DF}" dt="2021-07-26T08:47:54.202" v="22832"/>
          <ac:cxnSpMkLst>
            <pc:docMk/>
            <pc:sldMk cId="1121314240" sldId="335"/>
            <ac:cxnSpMk id="231" creationId="{CC0B4B24-2B44-44B9-B76B-4F4D34AFE382}"/>
          </ac:cxnSpMkLst>
        </pc:cxnChg>
        <pc:cxnChg chg="add mod ord">
          <ac:chgData name="Wang, David" userId="5ba1598c-ec07-46f3-a0aa-a1cc2acb9765" providerId="ADAL" clId="{14C079B1-3763-444B-B216-374EF69EE7DF}" dt="2021-07-26T08:47:54.207" v="22850"/>
          <ac:cxnSpMkLst>
            <pc:docMk/>
            <pc:sldMk cId="1121314240" sldId="335"/>
            <ac:cxnSpMk id="232" creationId="{69A525BE-CD2C-4A75-9AB7-B49A4949D651}"/>
          </ac:cxnSpMkLst>
        </pc:cxnChg>
        <pc:cxnChg chg="add mod ord">
          <ac:chgData name="Wang, David" userId="5ba1598c-ec07-46f3-a0aa-a1cc2acb9765" providerId="ADAL" clId="{14C079B1-3763-444B-B216-374EF69EE7DF}" dt="2021-07-26T08:47:54.208" v="22854"/>
          <ac:cxnSpMkLst>
            <pc:docMk/>
            <pc:sldMk cId="1121314240" sldId="335"/>
            <ac:cxnSpMk id="233" creationId="{33D8A905-594E-4830-BE4B-358748CAED01}"/>
          </ac:cxnSpMkLst>
        </pc:cxnChg>
        <pc:cxnChg chg="add mod ord">
          <ac:chgData name="Wang, David" userId="5ba1598c-ec07-46f3-a0aa-a1cc2acb9765" providerId="ADAL" clId="{14C079B1-3763-444B-B216-374EF69EE7DF}" dt="2021-07-26T08:47:54.209" v="22856"/>
          <ac:cxnSpMkLst>
            <pc:docMk/>
            <pc:sldMk cId="1121314240" sldId="335"/>
            <ac:cxnSpMk id="234" creationId="{E4896E1D-505E-49CD-A0DA-83350E87DD74}"/>
          </ac:cxnSpMkLst>
        </pc:cxnChg>
        <pc:cxnChg chg="add mod ord">
          <ac:chgData name="Wang, David" userId="5ba1598c-ec07-46f3-a0aa-a1cc2acb9765" providerId="ADAL" clId="{14C079B1-3763-444B-B216-374EF69EE7DF}" dt="2021-07-26T08:47:54.210" v="22858"/>
          <ac:cxnSpMkLst>
            <pc:docMk/>
            <pc:sldMk cId="1121314240" sldId="335"/>
            <ac:cxnSpMk id="235" creationId="{D37401B9-2698-4001-9BB4-F4D4C81B5392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86" creationId="{A7857725-658F-4B53-A300-A0F3B7352FF8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87" creationId="{7E40E08B-A540-4E6D-9B3B-A46FA7B5C9EA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88" creationId="{AD3B783E-1BFC-47EC-BB85-A8BC714A2978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89" creationId="{8D19283E-DB23-415F-A8FB-3D562EC6BFAB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0" creationId="{AAF65ADA-A129-43AB-806F-CB85EB02F6FA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1" creationId="{689F8608-6DC5-43E6-9B06-B9ACED88AF8E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2" creationId="{EA01682B-72F4-46B5-AF14-BC6913CEE862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3" creationId="{EC2CC78E-C563-4C83-93F4-4B2932FB511C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4" creationId="{BF78D351-F497-42B2-9329-73F127C2C02E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5" creationId="{FE3EB223-9E96-4C65-8C5F-D26156F00A4C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6" creationId="{3515CB74-15B7-47EE-9345-1B58BE3BDE44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7" creationId="{AE5471F0-1407-4F0A-AE8B-4218926F9E09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8" creationId="{092714B2-95D6-4238-A545-5C03A6211927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299" creationId="{AA9A2F29-2BCC-4CC9-BEBF-D12556261C7F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300" creationId="{F3A5614E-322E-4EB7-A69C-BFF2EAFA5D47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301" creationId="{EEDAD92C-ECEF-42BD-8463-3AFDB57C505D}"/>
          </ac:cxnSpMkLst>
        </pc:cxnChg>
        <pc:cxnChg chg="add del mod">
          <ac:chgData name="Wang, David" userId="5ba1598c-ec07-46f3-a0aa-a1cc2acb9765" providerId="ADAL" clId="{14C079B1-3763-444B-B216-374EF69EE7DF}" dt="2021-07-26T06:22:38.171" v="9312"/>
          <ac:cxnSpMkLst>
            <pc:docMk/>
            <pc:sldMk cId="1121314240" sldId="335"/>
            <ac:cxnSpMk id="302" creationId="{32D117C8-0A8E-4828-AB3F-E2D3B0FC432E}"/>
          </ac:cxnSpMkLst>
        </pc:cxnChg>
        <pc:cxnChg chg="add mod ord">
          <ac:chgData name="Wang, David" userId="5ba1598c-ec07-46f3-a0aa-a1cc2acb9765" providerId="ADAL" clId="{14C079B1-3763-444B-B216-374EF69EE7DF}" dt="2021-07-26T08:47:54.208" v="22852"/>
          <ac:cxnSpMkLst>
            <pc:docMk/>
            <pc:sldMk cId="1121314240" sldId="335"/>
            <ac:cxnSpMk id="338" creationId="{B06B517D-E06E-4F67-8024-C8683B6CF11E}"/>
          </ac:cxnSpMkLst>
        </pc:cxnChg>
        <pc:cxnChg chg="add mod ord">
          <ac:chgData name="Wang, David" userId="5ba1598c-ec07-46f3-a0aa-a1cc2acb9765" providerId="ADAL" clId="{14C079B1-3763-444B-B216-374EF69EE7DF}" dt="2021-07-26T08:47:54.207" v="22848"/>
          <ac:cxnSpMkLst>
            <pc:docMk/>
            <pc:sldMk cId="1121314240" sldId="335"/>
            <ac:cxnSpMk id="341" creationId="{14F49EA6-43D5-4A9E-8417-8F19021A8A2E}"/>
          </ac:cxnSpMkLst>
        </pc:cxnChg>
        <pc:cxnChg chg="add mod ord">
          <ac:chgData name="Wang, David" userId="5ba1598c-ec07-46f3-a0aa-a1cc2acb9765" providerId="ADAL" clId="{14C079B1-3763-444B-B216-374EF69EE7DF}" dt="2021-07-26T06:29:00.866" v="11291" actId="13822"/>
          <ac:cxnSpMkLst>
            <pc:docMk/>
            <pc:sldMk cId="1121314240" sldId="335"/>
            <ac:cxnSpMk id="354" creationId="{B921DE67-9A05-46EC-96EF-4E1D554673F6}"/>
          </ac:cxnSpMkLst>
        </pc:cxnChg>
        <pc:cxnChg chg="add mod ord">
          <ac:chgData name="Wang, David" userId="5ba1598c-ec07-46f3-a0aa-a1cc2acb9765" providerId="ADAL" clId="{14C079B1-3763-444B-B216-374EF69EE7DF}" dt="2021-07-26T06:29:00.850" v="11286" actId="13822"/>
          <ac:cxnSpMkLst>
            <pc:docMk/>
            <pc:sldMk cId="1121314240" sldId="335"/>
            <ac:cxnSpMk id="355" creationId="{C8223026-B14E-4DA0-A226-3A1F71E19C7E}"/>
          </ac:cxnSpMkLst>
        </pc:cxnChg>
      </pc:sldChg>
      <pc:sldChg chg="addSp del">
        <pc:chgData name="Wang, David" userId="5ba1598c-ec07-46f3-a0aa-a1cc2acb9765" providerId="ADAL" clId="{14C079B1-3763-444B-B216-374EF69EE7DF}" dt="2021-07-26T11:24:09.522" v="30082" actId="47"/>
        <pc:sldMkLst>
          <pc:docMk/>
          <pc:sldMk cId="3152702130" sldId="336"/>
        </pc:sldMkLst>
        <pc:picChg chg="add">
          <ac:chgData name="Wang, David" userId="5ba1598c-ec07-46f3-a0aa-a1cc2acb9765" providerId="ADAL" clId="{14C079B1-3763-444B-B216-374EF69EE7DF}" dt="2021-07-26T07:54:00.534" v="11834"/>
          <ac:picMkLst>
            <pc:docMk/>
            <pc:sldMk cId="3152702130" sldId="336"/>
            <ac:picMk id="2" creationId="{19FAA58A-0005-460D-BDD5-CD4CBAAA6AE0}"/>
          </ac:picMkLst>
        </pc:picChg>
      </pc:sldChg>
      <pc:sldChg chg="modSp add del mod">
        <pc:chgData name="Wang, David" userId="5ba1598c-ec07-46f3-a0aa-a1cc2acb9765" providerId="ADAL" clId="{14C079B1-3763-444B-B216-374EF69EE7DF}" dt="2021-07-26T07:24:47.017" v="11831" actId="47"/>
        <pc:sldMkLst>
          <pc:docMk/>
          <pc:sldMk cId="1725145298" sldId="568"/>
        </pc:sldMkLst>
        <pc:spChg chg="mod">
          <ac:chgData name="Wang, David" userId="5ba1598c-ec07-46f3-a0aa-a1cc2acb9765" providerId="ADAL" clId="{14C079B1-3763-444B-B216-374EF69EE7DF}" dt="2021-07-26T07:22:16.244" v="11814" actId="6549"/>
          <ac:spMkLst>
            <pc:docMk/>
            <pc:sldMk cId="1725145298" sldId="568"/>
            <ac:spMk id="4" creationId="{8FA122DE-754E-4DF6-8E5A-222ADA130D24}"/>
          </ac:spMkLst>
        </pc:spChg>
        <pc:spChg chg="mod">
          <ac:chgData name="Wang, David" userId="5ba1598c-ec07-46f3-a0aa-a1cc2acb9765" providerId="ADAL" clId="{14C079B1-3763-444B-B216-374EF69EE7DF}" dt="2021-07-26T07:22:14.150" v="11813" actId="6549"/>
          <ac:spMkLst>
            <pc:docMk/>
            <pc:sldMk cId="1725145298" sldId="568"/>
            <ac:spMk id="6" creationId="{5BC13E3D-E831-4B09-89E8-DC88A7BC2A61}"/>
          </ac:spMkLst>
        </pc:spChg>
      </pc:sldChg>
      <pc:sldChg chg="modSp add del mod">
        <pc:chgData name="Wang, David" userId="5ba1598c-ec07-46f3-a0aa-a1cc2acb9765" providerId="ADAL" clId="{14C079B1-3763-444B-B216-374EF69EE7DF}" dt="2021-07-26T07:25:06.186" v="11833" actId="47"/>
        <pc:sldMkLst>
          <pc:docMk/>
          <pc:sldMk cId="2546944868" sldId="569"/>
        </pc:sldMkLst>
        <pc:spChg chg="mod">
          <ac:chgData name="Wang, David" userId="5ba1598c-ec07-46f3-a0aa-a1cc2acb9765" providerId="ADAL" clId="{14C079B1-3763-444B-B216-374EF69EE7DF}" dt="2021-07-26T07:22:27.856" v="11816" actId="6549"/>
          <ac:spMkLst>
            <pc:docMk/>
            <pc:sldMk cId="2546944868" sldId="569"/>
            <ac:spMk id="4" creationId="{8FA122DE-754E-4DF6-8E5A-222ADA130D24}"/>
          </ac:spMkLst>
        </pc:spChg>
        <pc:spChg chg="mod">
          <ac:chgData name="Wang, David" userId="5ba1598c-ec07-46f3-a0aa-a1cc2acb9765" providerId="ADAL" clId="{14C079B1-3763-444B-B216-374EF69EE7DF}" dt="2021-07-26T07:22:25.627" v="11815" actId="6549"/>
          <ac:spMkLst>
            <pc:docMk/>
            <pc:sldMk cId="2546944868" sldId="569"/>
            <ac:spMk id="6" creationId="{5BC13E3D-E831-4B09-89E8-DC88A7BC2A61}"/>
          </ac:spMkLst>
        </pc:spChg>
      </pc:sldChg>
      <pc:sldChg chg="modSp mod">
        <pc:chgData name="Wang, David" userId="5ba1598c-ec07-46f3-a0aa-a1cc2acb9765" providerId="ADAL" clId="{14C079B1-3763-444B-B216-374EF69EE7DF}" dt="2021-07-26T11:20:58.353" v="29355" actId="6549"/>
        <pc:sldMkLst>
          <pc:docMk/>
          <pc:sldMk cId="3479122624" sldId="9153"/>
        </pc:sldMkLst>
        <pc:spChg chg="mod">
          <ac:chgData name="Wang, David" userId="5ba1598c-ec07-46f3-a0aa-a1cc2acb9765" providerId="ADAL" clId="{14C079B1-3763-444B-B216-374EF69EE7DF}" dt="2021-07-26T11:20:58.353" v="29355" actId="6549"/>
          <ac:spMkLst>
            <pc:docMk/>
            <pc:sldMk cId="3479122624" sldId="9153"/>
            <ac:spMk id="50" creationId="{F4A529A8-C0E2-4DBD-AA6F-84723EF65A0B}"/>
          </ac:spMkLst>
        </pc:spChg>
      </pc:sldChg>
      <pc:sldChg chg="addSp delSp modSp del mod">
        <pc:chgData name="Wang, David" userId="5ba1598c-ec07-46f3-a0aa-a1cc2acb9765" providerId="ADAL" clId="{14C079B1-3763-444B-B216-374EF69EE7DF}" dt="2021-07-26T13:30:33.485" v="80604" actId="47"/>
        <pc:sldMkLst>
          <pc:docMk/>
          <pc:sldMk cId="3169341715" sldId="9154"/>
        </pc:sldMkLst>
        <pc:spChg chg="add del mod modVis">
          <ac:chgData name="Wang, David" userId="5ba1598c-ec07-46f3-a0aa-a1cc2acb9765" providerId="ADAL" clId="{14C079B1-3763-444B-B216-374EF69EE7DF}" dt="2021-07-26T12:29:56.730" v="59066"/>
          <ac:spMkLst>
            <pc:docMk/>
            <pc:sldMk cId="3169341715" sldId="9154"/>
            <ac:spMk id="3" creationId="{44BF2FCF-A544-413B-AA28-7C9139439DF3}"/>
          </ac:spMkLst>
        </pc:spChg>
        <pc:spChg chg="add del mod modVis">
          <ac:chgData name="Wang, David" userId="5ba1598c-ec07-46f3-a0aa-a1cc2acb9765" providerId="ADAL" clId="{14C079B1-3763-444B-B216-374EF69EE7DF}" dt="2021-07-26T12:30:00.289" v="59112"/>
          <ac:spMkLst>
            <pc:docMk/>
            <pc:sldMk cId="3169341715" sldId="9154"/>
            <ac:spMk id="4" creationId="{32F2B053-2AA4-41AC-A7F6-DE92CCCD03F6}"/>
          </ac:spMkLst>
        </pc:spChg>
        <pc:spChg chg="add del mod modVis">
          <ac:chgData name="Wang, David" userId="5ba1598c-ec07-46f3-a0aa-a1cc2acb9765" providerId="ADAL" clId="{14C079B1-3763-444B-B216-374EF69EE7DF}" dt="2021-07-26T12:30:01.878" v="59156"/>
          <ac:spMkLst>
            <pc:docMk/>
            <pc:sldMk cId="3169341715" sldId="9154"/>
            <ac:spMk id="5" creationId="{8F6A2CA2-F0A4-40D2-ADDB-4FF1D3EDFF18}"/>
          </ac:spMkLst>
        </pc:spChg>
        <pc:spChg chg="add del mod modVis">
          <ac:chgData name="Wang, David" userId="5ba1598c-ec07-46f3-a0aa-a1cc2acb9765" providerId="ADAL" clId="{14C079B1-3763-444B-B216-374EF69EE7DF}" dt="2021-07-26T12:30:48.558" v="59474"/>
          <ac:spMkLst>
            <pc:docMk/>
            <pc:sldMk cId="3169341715" sldId="9154"/>
            <ac:spMk id="6" creationId="{2099FF52-9116-45FE-870E-DD6700AD1C78}"/>
          </ac:spMkLst>
        </pc:spChg>
        <pc:spChg chg="add del mod modVis">
          <ac:chgData name="Wang, David" userId="5ba1598c-ec07-46f3-a0aa-a1cc2acb9765" providerId="ADAL" clId="{14C079B1-3763-444B-B216-374EF69EE7DF}" dt="2021-07-26T12:31:02.508" v="59516"/>
          <ac:spMkLst>
            <pc:docMk/>
            <pc:sldMk cId="3169341715" sldId="9154"/>
            <ac:spMk id="7" creationId="{649496AD-B59C-4F73-9B91-E94A0E7DD479}"/>
          </ac:spMkLst>
        </pc:spChg>
        <pc:spChg chg="add del mod ord modVis">
          <ac:chgData name="Wang, David" userId="5ba1598c-ec07-46f3-a0aa-a1cc2acb9765" providerId="ADAL" clId="{14C079B1-3763-444B-B216-374EF69EE7DF}" dt="2021-07-26T12:31:32.085" v="60303"/>
          <ac:spMkLst>
            <pc:docMk/>
            <pc:sldMk cId="3169341715" sldId="9154"/>
            <ac:spMk id="8" creationId="{C73066C9-2D6E-40DE-9D1A-EF71F34C8A62}"/>
          </ac:spMkLst>
        </pc:spChg>
        <pc:spChg chg="add mod">
          <ac:chgData name="Wang, David" userId="5ba1598c-ec07-46f3-a0aa-a1cc2acb9765" providerId="ADAL" clId="{14C079B1-3763-444B-B216-374EF69EE7DF}" dt="2021-07-26T13:07:15.637" v="80361"/>
          <ac:spMkLst>
            <pc:docMk/>
            <pc:sldMk cId="3169341715" sldId="9154"/>
            <ac:spMk id="9" creationId="{FF9292AF-B235-4804-BF3A-07FAB01A1202}"/>
          </ac:spMkLst>
        </pc:spChg>
        <pc:spChg chg="add mod">
          <ac:chgData name="Wang, David" userId="5ba1598c-ec07-46f3-a0aa-a1cc2acb9765" providerId="ADAL" clId="{14C079B1-3763-444B-B216-374EF69EE7DF}" dt="2021-07-26T13:07:15.674" v="80368"/>
          <ac:spMkLst>
            <pc:docMk/>
            <pc:sldMk cId="3169341715" sldId="9154"/>
            <ac:spMk id="10" creationId="{3EE93DA3-3DF5-4933-94DE-B6BBCC800669}"/>
          </ac:spMkLst>
        </pc:spChg>
        <pc:spChg chg="add mod">
          <ac:chgData name="Wang, David" userId="5ba1598c-ec07-46f3-a0aa-a1cc2acb9765" providerId="ADAL" clId="{14C079B1-3763-444B-B216-374EF69EE7DF}" dt="2021-07-26T13:07:15.458" v="80320"/>
          <ac:spMkLst>
            <pc:docMk/>
            <pc:sldMk cId="3169341715" sldId="9154"/>
            <ac:spMk id="11" creationId="{14781716-3A7B-4550-9D7E-D7FF18991C7D}"/>
          </ac:spMkLst>
        </pc:spChg>
        <pc:spChg chg="add mod">
          <ac:chgData name="Wang, David" userId="5ba1598c-ec07-46f3-a0aa-a1cc2acb9765" providerId="ADAL" clId="{14C079B1-3763-444B-B216-374EF69EE7DF}" dt="2021-07-26T13:07:15.505" v="80331"/>
          <ac:spMkLst>
            <pc:docMk/>
            <pc:sldMk cId="3169341715" sldId="9154"/>
            <ac:spMk id="12" creationId="{DD851D24-F658-47DC-B90E-67FC66F6D073}"/>
          </ac:spMkLst>
        </pc:spChg>
        <pc:spChg chg="add mod">
          <ac:chgData name="Wang, David" userId="5ba1598c-ec07-46f3-a0aa-a1cc2acb9765" providerId="ADAL" clId="{14C079B1-3763-444B-B216-374EF69EE7DF}" dt="2021-07-26T13:07:15.521" v="80334"/>
          <ac:spMkLst>
            <pc:docMk/>
            <pc:sldMk cId="3169341715" sldId="9154"/>
            <ac:spMk id="13" creationId="{1E6B437D-2C8A-4FEB-8722-EB70DD670181}"/>
          </ac:spMkLst>
        </pc:spChg>
        <pc:spChg chg="add mod">
          <ac:chgData name="Wang, David" userId="5ba1598c-ec07-46f3-a0aa-a1cc2acb9765" providerId="ADAL" clId="{14C079B1-3763-444B-B216-374EF69EE7DF}" dt="2021-07-26T13:07:15.536" v="80337"/>
          <ac:spMkLst>
            <pc:docMk/>
            <pc:sldMk cId="3169341715" sldId="9154"/>
            <ac:spMk id="14" creationId="{A5ABA1A1-97A9-4B9D-9015-CDF33B35AF84}"/>
          </ac:spMkLst>
        </pc:spChg>
        <pc:spChg chg="add mod">
          <ac:chgData name="Wang, David" userId="5ba1598c-ec07-46f3-a0aa-a1cc2acb9765" providerId="ADAL" clId="{14C079B1-3763-444B-B216-374EF69EE7DF}" dt="2021-07-26T13:07:15.552" v="80340"/>
          <ac:spMkLst>
            <pc:docMk/>
            <pc:sldMk cId="3169341715" sldId="9154"/>
            <ac:spMk id="15" creationId="{1F939E00-855E-4545-A5D1-B9A4A186CC18}"/>
          </ac:spMkLst>
        </pc:spChg>
        <pc:spChg chg="add mod">
          <ac:chgData name="Wang, David" userId="5ba1598c-ec07-46f3-a0aa-a1cc2acb9765" providerId="ADAL" clId="{14C079B1-3763-444B-B216-374EF69EE7DF}" dt="2021-07-26T13:07:15.558" v="80343"/>
          <ac:spMkLst>
            <pc:docMk/>
            <pc:sldMk cId="3169341715" sldId="9154"/>
            <ac:spMk id="16" creationId="{47578672-1C62-4357-82C3-F8CA1A1C7786}"/>
          </ac:spMkLst>
        </pc:spChg>
        <pc:spChg chg="add mod">
          <ac:chgData name="Wang, David" userId="5ba1598c-ec07-46f3-a0aa-a1cc2acb9765" providerId="ADAL" clId="{14C079B1-3763-444B-B216-374EF69EE7DF}" dt="2021-07-26T13:07:15.574" v="80346"/>
          <ac:spMkLst>
            <pc:docMk/>
            <pc:sldMk cId="3169341715" sldId="9154"/>
            <ac:spMk id="17" creationId="{1939CE81-3919-41BF-88A9-A55428316775}"/>
          </ac:spMkLst>
        </pc:spChg>
        <pc:spChg chg="add mod">
          <ac:chgData name="Wang, David" userId="5ba1598c-ec07-46f3-a0aa-a1cc2acb9765" providerId="ADAL" clId="{14C079B1-3763-444B-B216-374EF69EE7DF}" dt="2021-07-26T13:07:15.590" v="80349"/>
          <ac:spMkLst>
            <pc:docMk/>
            <pc:sldMk cId="3169341715" sldId="9154"/>
            <ac:spMk id="18" creationId="{3596DC0E-566F-47A2-B727-B77BE071765D}"/>
          </ac:spMkLst>
        </pc:spChg>
        <pc:spChg chg="add mod">
          <ac:chgData name="Wang, David" userId="5ba1598c-ec07-46f3-a0aa-a1cc2acb9765" providerId="ADAL" clId="{14C079B1-3763-444B-B216-374EF69EE7DF}" dt="2021-07-26T13:07:15.590" v="80352"/>
          <ac:spMkLst>
            <pc:docMk/>
            <pc:sldMk cId="3169341715" sldId="9154"/>
            <ac:spMk id="19" creationId="{D151409A-AB22-499D-BF88-35FAC1A799D7}"/>
          </ac:spMkLst>
        </pc:spChg>
        <pc:spChg chg="add mod">
          <ac:chgData name="Wang, David" userId="5ba1598c-ec07-46f3-a0aa-a1cc2acb9765" providerId="ADAL" clId="{14C079B1-3763-444B-B216-374EF69EE7DF}" dt="2021-07-26T13:07:15.605" v="80355"/>
          <ac:spMkLst>
            <pc:docMk/>
            <pc:sldMk cId="3169341715" sldId="9154"/>
            <ac:spMk id="20" creationId="{BAA36D7C-F8BF-4285-947B-85B6B95F2A7D}"/>
          </ac:spMkLst>
        </pc:spChg>
        <pc:spChg chg="add mod">
          <ac:chgData name="Wang, David" userId="5ba1598c-ec07-46f3-a0aa-a1cc2acb9765" providerId="ADAL" clId="{14C079B1-3763-444B-B216-374EF69EE7DF}" dt="2021-07-26T13:07:15.621" v="80358"/>
          <ac:spMkLst>
            <pc:docMk/>
            <pc:sldMk cId="3169341715" sldId="9154"/>
            <ac:spMk id="21" creationId="{AA2BF07C-CFCA-4492-950D-B926F1AA46D5}"/>
          </ac:spMkLst>
        </pc:spChg>
        <pc:spChg chg="add mod">
          <ac:chgData name="Wang, David" userId="5ba1598c-ec07-46f3-a0aa-a1cc2acb9765" providerId="ADAL" clId="{14C079B1-3763-444B-B216-374EF69EE7DF}" dt="2021-07-26T13:07:15.621" v="80359"/>
          <ac:spMkLst>
            <pc:docMk/>
            <pc:sldMk cId="3169341715" sldId="9154"/>
            <ac:spMk id="23" creationId="{CBFDEC41-B7CD-4514-BDB9-326747B384CD}"/>
          </ac:spMkLst>
        </pc:spChg>
        <pc:spChg chg="mod ord">
          <ac:chgData name="Wang, David" userId="5ba1598c-ec07-46f3-a0aa-a1cc2acb9765" providerId="ADAL" clId="{14C079B1-3763-444B-B216-374EF69EE7DF}" dt="2021-07-26T13:26:09.137" v="80564" actId="948"/>
          <ac:spMkLst>
            <pc:docMk/>
            <pc:sldMk cId="3169341715" sldId="9154"/>
            <ac:spMk id="43" creationId="{9612C3F6-9FCF-463B-A09B-1F0967DF8D1D}"/>
          </ac:spMkLst>
        </pc:spChg>
        <pc:spChg chg="del">
          <ac:chgData name="Wang, David" userId="5ba1598c-ec07-46f3-a0aa-a1cc2acb9765" providerId="ADAL" clId="{14C079B1-3763-444B-B216-374EF69EE7DF}" dt="2021-07-26T12:30:53.763" v="59477" actId="478"/>
          <ac:spMkLst>
            <pc:docMk/>
            <pc:sldMk cId="3169341715" sldId="9154"/>
            <ac:spMk id="46" creationId="{1D2EA873-7FF4-47E7-9C27-EF215F3C9571}"/>
          </ac:spMkLst>
        </pc:spChg>
        <pc:spChg chg="add mod ord">
          <ac:chgData name="Wang, David" userId="5ba1598c-ec07-46f3-a0aa-a1cc2acb9765" providerId="ADAL" clId="{14C079B1-3763-444B-B216-374EF69EE7DF}" dt="2021-07-26T13:07:16.207" v="80461"/>
          <ac:spMkLst>
            <pc:docMk/>
            <pc:sldMk cId="3169341715" sldId="9154"/>
            <ac:spMk id="47" creationId="{A2015832-6C22-4EB7-8A17-3A6633250AC3}"/>
          </ac:spMkLst>
        </pc:spChg>
        <pc:spChg chg="add mod ord">
          <ac:chgData name="Wang, David" userId="5ba1598c-ec07-46f3-a0aa-a1cc2acb9765" providerId="ADAL" clId="{14C079B1-3763-444B-B216-374EF69EE7DF}" dt="2021-07-26T13:07:16.207" v="80460"/>
          <ac:spMkLst>
            <pc:docMk/>
            <pc:sldMk cId="3169341715" sldId="9154"/>
            <ac:spMk id="48" creationId="{202CEB77-3291-4756-B603-B2F24612EB96}"/>
          </ac:spMkLst>
        </pc:spChg>
        <pc:spChg chg="add mod ord">
          <ac:chgData name="Wang, David" userId="5ba1598c-ec07-46f3-a0aa-a1cc2acb9765" providerId="ADAL" clId="{14C079B1-3763-444B-B216-374EF69EE7DF}" dt="2021-07-26T13:07:16.207" v="80459"/>
          <ac:spMkLst>
            <pc:docMk/>
            <pc:sldMk cId="3169341715" sldId="9154"/>
            <ac:spMk id="49" creationId="{E05B9206-1C48-441B-A139-E5825C277585}"/>
          </ac:spMkLst>
        </pc:spChg>
        <pc:spChg chg="add mod ord">
          <ac:chgData name="Wang, David" userId="5ba1598c-ec07-46f3-a0aa-a1cc2acb9765" providerId="ADAL" clId="{14C079B1-3763-444B-B216-374EF69EE7DF}" dt="2021-07-26T13:07:16.207" v="80464"/>
          <ac:spMkLst>
            <pc:docMk/>
            <pc:sldMk cId="3169341715" sldId="9154"/>
            <ac:spMk id="50" creationId="{D3FA93A2-3222-4733-A648-ECB2F1C27E77}"/>
          </ac:spMkLst>
        </pc:spChg>
        <pc:spChg chg="add mod ord">
          <ac:chgData name="Wang, David" userId="5ba1598c-ec07-46f3-a0aa-a1cc2acb9765" providerId="ADAL" clId="{14C079B1-3763-444B-B216-374EF69EE7DF}" dt="2021-07-26T13:07:16.238" v="80474"/>
          <ac:spMkLst>
            <pc:docMk/>
            <pc:sldMk cId="3169341715" sldId="9154"/>
            <ac:spMk id="51" creationId="{77F2ED03-FE25-47E5-97E8-7F9B3413C68A}"/>
          </ac:spMkLst>
        </pc:spChg>
        <pc:spChg chg="add mod ord">
          <ac:chgData name="Wang, David" userId="5ba1598c-ec07-46f3-a0aa-a1cc2acb9765" providerId="ADAL" clId="{14C079B1-3763-444B-B216-374EF69EE7DF}" dt="2021-07-26T13:07:16.207" v="80458"/>
          <ac:spMkLst>
            <pc:docMk/>
            <pc:sldMk cId="3169341715" sldId="9154"/>
            <ac:spMk id="52" creationId="{EAD0374B-9DFA-4C79-928A-7FEC3B28D9F3}"/>
          </ac:spMkLst>
        </pc:spChg>
        <pc:spChg chg="add mod ord">
          <ac:chgData name="Wang, David" userId="5ba1598c-ec07-46f3-a0aa-a1cc2acb9765" providerId="ADAL" clId="{14C079B1-3763-444B-B216-374EF69EE7DF}" dt="2021-07-26T13:07:16.222" v="80472"/>
          <ac:spMkLst>
            <pc:docMk/>
            <pc:sldMk cId="3169341715" sldId="9154"/>
            <ac:spMk id="53" creationId="{3DE20BD6-4081-4A1B-A8D8-B69CD35EF003}"/>
          </ac:spMkLst>
        </pc:spChg>
        <pc:spChg chg="add mod ord">
          <ac:chgData name="Wang, David" userId="5ba1598c-ec07-46f3-a0aa-a1cc2acb9765" providerId="ADAL" clId="{14C079B1-3763-444B-B216-374EF69EE7DF}" dt="2021-07-26T13:07:16.207" v="80463"/>
          <ac:spMkLst>
            <pc:docMk/>
            <pc:sldMk cId="3169341715" sldId="9154"/>
            <ac:spMk id="54" creationId="{2F07B020-E777-49FC-9A7F-6B78FEF94FFD}"/>
          </ac:spMkLst>
        </pc:spChg>
        <pc:spChg chg="add mod ord">
          <ac:chgData name="Wang, David" userId="5ba1598c-ec07-46f3-a0aa-a1cc2acb9765" providerId="ADAL" clId="{14C079B1-3763-444B-B216-374EF69EE7DF}" dt="2021-07-26T13:07:16.222" v="80469"/>
          <ac:spMkLst>
            <pc:docMk/>
            <pc:sldMk cId="3169341715" sldId="9154"/>
            <ac:spMk id="55" creationId="{8637B54F-BF19-4F8C-BDCD-A62DCA3589E5}"/>
          </ac:spMkLst>
        </pc:spChg>
        <pc:spChg chg="add mod ord">
          <ac:chgData name="Wang, David" userId="5ba1598c-ec07-46f3-a0aa-a1cc2acb9765" providerId="ADAL" clId="{14C079B1-3763-444B-B216-374EF69EE7DF}" dt="2021-07-26T13:07:16.207" v="80462"/>
          <ac:spMkLst>
            <pc:docMk/>
            <pc:sldMk cId="3169341715" sldId="9154"/>
            <ac:spMk id="56" creationId="{3471D0F2-6E36-43C3-869B-398D0227A30B}"/>
          </ac:spMkLst>
        </pc:spChg>
        <pc:spChg chg="add mod ord">
          <ac:chgData name="Wang, David" userId="5ba1598c-ec07-46f3-a0aa-a1cc2acb9765" providerId="ADAL" clId="{14C079B1-3763-444B-B216-374EF69EE7DF}" dt="2021-07-26T13:07:16.191" v="80456" actId="20577"/>
          <ac:spMkLst>
            <pc:docMk/>
            <pc:sldMk cId="3169341715" sldId="9154"/>
            <ac:spMk id="57" creationId="{D0D60C88-76F8-46EC-B09D-0D631C8618F5}"/>
          </ac:spMkLst>
        </pc:spChg>
        <pc:spChg chg="add mod ord">
          <ac:chgData name="Wang, David" userId="5ba1598c-ec07-46f3-a0aa-a1cc2acb9765" providerId="ADAL" clId="{14C079B1-3763-444B-B216-374EF69EE7DF}" dt="2021-07-26T13:07:16.238" v="80473"/>
          <ac:spMkLst>
            <pc:docMk/>
            <pc:sldMk cId="3169341715" sldId="9154"/>
            <ac:spMk id="58" creationId="{D7704228-8A91-4D4D-BE15-6FADFD5AB6F3}"/>
          </ac:spMkLst>
        </pc:spChg>
        <pc:spChg chg="add mod ord">
          <ac:chgData name="Wang, David" userId="5ba1598c-ec07-46f3-a0aa-a1cc2acb9765" providerId="ADAL" clId="{14C079B1-3763-444B-B216-374EF69EE7DF}" dt="2021-07-26T13:07:16.222" v="80470"/>
          <ac:spMkLst>
            <pc:docMk/>
            <pc:sldMk cId="3169341715" sldId="9154"/>
            <ac:spMk id="59" creationId="{0150DBFD-AD85-4707-8C3C-94B641BF96D8}"/>
          </ac:spMkLst>
        </pc:spChg>
        <pc:spChg chg="add mod ord">
          <ac:chgData name="Wang, David" userId="5ba1598c-ec07-46f3-a0aa-a1cc2acb9765" providerId="ADAL" clId="{14C079B1-3763-444B-B216-374EF69EE7DF}" dt="2021-07-26T13:07:16.222" v="80471"/>
          <ac:spMkLst>
            <pc:docMk/>
            <pc:sldMk cId="3169341715" sldId="9154"/>
            <ac:spMk id="60" creationId="{D3766022-AB35-4BD2-9010-3B57AE2AA44E}"/>
          </ac:spMkLst>
        </pc:spChg>
        <pc:spChg chg="add mod ord">
          <ac:chgData name="Wang, David" userId="5ba1598c-ec07-46f3-a0aa-a1cc2acb9765" providerId="ADAL" clId="{14C079B1-3763-444B-B216-374EF69EE7DF}" dt="2021-07-26T13:07:16.222" v="80466"/>
          <ac:spMkLst>
            <pc:docMk/>
            <pc:sldMk cId="3169341715" sldId="9154"/>
            <ac:spMk id="61" creationId="{0D57010F-0BC1-41D4-9DEA-B29378BFF630}"/>
          </ac:spMkLst>
        </pc:spChg>
        <pc:spChg chg="add mod ord">
          <ac:chgData name="Wang, David" userId="5ba1598c-ec07-46f3-a0aa-a1cc2acb9765" providerId="ADAL" clId="{14C079B1-3763-444B-B216-374EF69EE7DF}" dt="2021-07-26T13:07:16.222" v="80467"/>
          <ac:spMkLst>
            <pc:docMk/>
            <pc:sldMk cId="3169341715" sldId="9154"/>
            <ac:spMk id="62" creationId="{EC3ECDAC-177E-4E33-B4C5-10F127952691}"/>
          </ac:spMkLst>
        </pc:spChg>
        <pc:spChg chg="add mod ord">
          <ac:chgData name="Wang, David" userId="5ba1598c-ec07-46f3-a0aa-a1cc2acb9765" providerId="ADAL" clId="{14C079B1-3763-444B-B216-374EF69EE7DF}" dt="2021-07-26T13:07:16.222" v="80468"/>
          <ac:spMkLst>
            <pc:docMk/>
            <pc:sldMk cId="3169341715" sldId="9154"/>
            <ac:spMk id="63" creationId="{DD67DD56-5207-419B-B4F7-48404B324EAF}"/>
          </ac:spMkLst>
        </pc:spChg>
        <pc:spChg chg="add mod ord">
          <ac:chgData name="Wang, David" userId="5ba1598c-ec07-46f3-a0aa-a1cc2acb9765" providerId="ADAL" clId="{14C079B1-3763-444B-B216-374EF69EE7DF}" dt="2021-07-26T13:07:16.207" v="80465"/>
          <ac:spMkLst>
            <pc:docMk/>
            <pc:sldMk cId="3169341715" sldId="9154"/>
            <ac:spMk id="64" creationId="{76458135-EAF0-45F3-9BB9-05F48FCD7D84}"/>
          </ac:spMkLst>
        </pc:spChg>
        <pc:spChg chg="add mod ord">
          <ac:chgData name="Wang, David" userId="5ba1598c-ec07-46f3-a0aa-a1cc2acb9765" providerId="ADAL" clId="{14C079B1-3763-444B-B216-374EF69EE7DF}" dt="2021-07-26T13:05:41.271" v="79453"/>
          <ac:spMkLst>
            <pc:docMk/>
            <pc:sldMk cId="3169341715" sldId="9154"/>
            <ac:spMk id="65" creationId="{AC8C2E4E-089A-4EE0-ABF7-F9737A88EBEB}"/>
          </ac:spMkLst>
        </pc:spChg>
        <pc:spChg chg="add mod ord">
          <ac:chgData name="Wang, David" userId="5ba1598c-ec07-46f3-a0aa-a1cc2acb9765" providerId="ADAL" clId="{14C079B1-3763-444B-B216-374EF69EE7DF}" dt="2021-07-26T13:05:41.271" v="79459"/>
          <ac:spMkLst>
            <pc:docMk/>
            <pc:sldMk cId="3169341715" sldId="9154"/>
            <ac:spMk id="66" creationId="{170ECB66-5177-47C1-B18E-32DD8F20CC2D}"/>
          </ac:spMkLst>
        </pc:spChg>
        <pc:spChg chg="add mod ord">
          <ac:chgData name="Wang, David" userId="5ba1598c-ec07-46f3-a0aa-a1cc2acb9765" providerId="ADAL" clId="{14C079B1-3763-444B-B216-374EF69EE7DF}" dt="2021-07-26T13:05:41.271" v="79457"/>
          <ac:spMkLst>
            <pc:docMk/>
            <pc:sldMk cId="3169341715" sldId="9154"/>
            <ac:spMk id="67" creationId="{0CA92E9F-A06D-406B-9151-7A35A8C3E52B}"/>
          </ac:spMkLst>
        </pc:spChg>
        <pc:spChg chg="add mod ord">
          <ac:chgData name="Wang, David" userId="5ba1598c-ec07-46f3-a0aa-a1cc2acb9765" providerId="ADAL" clId="{14C079B1-3763-444B-B216-374EF69EE7DF}" dt="2021-07-26T13:05:41.286" v="79465"/>
          <ac:spMkLst>
            <pc:docMk/>
            <pc:sldMk cId="3169341715" sldId="9154"/>
            <ac:spMk id="68" creationId="{779DA0E9-5714-4C0F-9283-96F4D522E871}"/>
          </ac:spMkLst>
        </pc:spChg>
        <pc:spChg chg="add mod ord">
          <ac:chgData name="Wang, David" userId="5ba1598c-ec07-46f3-a0aa-a1cc2acb9765" providerId="ADAL" clId="{14C079B1-3763-444B-B216-374EF69EE7DF}" dt="2021-07-26T13:05:41.286" v="79467"/>
          <ac:spMkLst>
            <pc:docMk/>
            <pc:sldMk cId="3169341715" sldId="9154"/>
            <ac:spMk id="69" creationId="{F50DA790-814B-4194-A38E-73637BE49CF9}"/>
          </ac:spMkLst>
        </pc:spChg>
        <pc:spChg chg="add mod ord">
          <ac:chgData name="Wang, David" userId="5ba1598c-ec07-46f3-a0aa-a1cc2acb9765" providerId="ADAL" clId="{14C079B1-3763-444B-B216-374EF69EE7DF}" dt="2021-07-26T13:05:41.302" v="79471"/>
          <ac:spMkLst>
            <pc:docMk/>
            <pc:sldMk cId="3169341715" sldId="9154"/>
            <ac:spMk id="70" creationId="{85CEFF52-6291-49C8-83BD-BD525AB39BF9}"/>
          </ac:spMkLst>
        </pc:spChg>
        <pc:spChg chg="add mod ord">
          <ac:chgData name="Wang, David" userId="5ba1598c-ec07-46f3-a0aa-a1cc2acb9765" providerId="ADAL" clId="{14C079B1-3763-444B-B216-374EF69EE7DF}" dt="2021-07-26T13:05:41.286" v="79463"/>
          <ac:spMkLst>
            <pc:docMk/>
            <pc:sldMk cId="3169341715" sldId="9154"/>
            <ac:spMk id="71" creationId="{6A8DD84A-2AF1-4005-B711-CF57B0EA527B}"/>
          </ac:spMkLst>
        </pc:spChg>
        <pc:spChg chg="add mod">
          <ac:chgData name="Wang, David" userId="5ba1598c-ec07-46f3-a0aa-a1cc2acb9765" providerId="ADAL" clId="{14C079B1-3763-444B-B216-374EF69EE7DF}" dt="2021-07-26T13:07:15.438" v="80315"/>
          <ac:spMkLst>
            <pc:docMk/>
            <pc:sldMk cId="3169341715" sldId="9154"/>
            <ac:spMk id="72" creationId="{6D3522EE-F3E7-4C06-A4E5-66E7E6325BCC}"/>
          </ac:spMkLst>
        </pc:spChg>
        <pc:spChg chg="add mod ord">
          <ac:chgData name="Wang, David" userId="5ba1598c-ec07-46f3-a0aa-a1cc2acb9765" providerId="ADAL" clId="{14C079B1-3763-444B-B216-374EF69EE7DF}" dt="2021-07-26T13:07:15.937" v="80425" actId="948"/>
          <ac:spMkLst>
            <pc:docMk/>
            <pc:sldMk cId="3169341715" sldId="9154"/>
            <ac:spMk id="73" creationId="{54162FF7-C578-4992-9F1D-46424A8C227C}"/>
          </ac:spMkLst>
        </pc:spChg>
        <pc:spChg chg="add mod ord">
          <ac:chgData name="Wang, David" userId="5ba1598c-ec07-46f3-a0aa-a1cc2acb9765" providerId="ADAL" clId="{14C079B1-3763-444B-B216-374EF69EE7DF}" dt="2021-07-26T13:07:15.690" v="80371" actId="948"/>
          <ac:spMkLst>
            <pc:docMk/>
            <pc:sldMk cId="3169341715" sldId="9154"/>
            <ac:spMk id="74" creationId="{175B14BF-6C1D-440D-80C0-446823CE9961}"/>
          </ac:spMkLst>
        </pc:spChg>
        <pc:spChg chg="add mod">
          <ac:chgData name="Wang, David" userId="5ba1598c-ec07-46f3-a0aa-a1cc2acb9765" providerId="ADAL" clId="{14C079B1-3763-444B-B216-374EF69EE7DF}" dt="2021-07-26T13:07:15.454" v="80318"/>
          <ac:spMkLst>
            <pc:docMk/>
            <pc:sldMk cId="3169341715" sldId="9154"/>
            <ac:spMk id="75" creationId="{6A0CE5E6-EBD3-4F0E-80E4-698B0E2FBF73}"/>
          </ac:spMkLst>
        </pc:spChg>
        <pc:spChg chg="add mod">
          <ac:chgData name="Wang, David" userId="5ba1598c-ec07-46f3-a0aa-a1cc2acb9765" providerId="ADAL" clId="{14C079B1-3763-444B-B216-374EF69EE7DF}" dt="2021-07-26T13:07:15.454" v="80317"/>
          <ac:spMkLst>
            <pc:docMk/>
            <pc:sldMk cId="3169341715" sldId="9154"/>
            <ac:spMk id="76" creationId="{44AF42FA-7D2B-4628-814F-F8320941F9A8}"/>
          </ac:spMkLst>
        </pc:spChg>
        <pc:spChg chg="add mod">
          <ac:chgData name="Wang, David" userId="5ba1598c-ec07-46f3-a0aa-a1cc2acb9765" providerId="ADAL" clId="{14C079B1-3763-444B-B216-374EF69EE7DF}" dt="2021-07-26T13:07:15.438" v="80316"/>
          <ac:spMkLst>
            <pc:docMk/>
            <pc:sldMk cId="3169341715" sldId="9154"/>
            <ac:spMk id="77" creationId="{ED5CAD7E-D9D2-4A25-BAFD-7986A96F6BFF}"/>
          </ac:spMkLst>
        </pc:spChg>
        <pc:spChg chg="add mod ord">
          <ac:chgData name="Wang, David" userId="5ba1598c-ec07-46f3-a0aa-a1cc2acb9765" providerId="ADAL" clId="{14C079B1-3763-444B-B216-374EF69EE7DF}" dt="2021-07-26T13:07:15.953" v="80426" actId="948"/>
          <ac:spMkLst>
            <pc:docMk/>
            <pc:sldMk cId="3169341715" sldId="9154"/>
            <ac:spMk id="78" creationId="{5809AACF-F5D2-4D6F-89BF-61C2001FEB70}"/>
          </ac:spMkLst>
        </pc:spChg>
        <pc:spChg chg="add mod ord">
          <ac:chgData name="Wang, David" userId="5ba1598c-ec07-46f3-a0aa-a1cc2acb9765" providerId="ADAL" clId="{14C079B1-3763-444B-B216-374EF69EE7DF}" dt="2021-07-26T13:07:16.060" v="80443" actId="948"/>
          <ac:spMkLst>
            <pc:docMk/>
            <pc:sldMk cId="3169341715" sldId="9154"/>
            <ac:spMk id="79" creationId="{509D50B4-59CE-40E9-B457-846B84B8FDE9}"/>
          </ac:spMkLst>
        </pc:spChg>
        <pc:spChg chg="add mod">
          <ac:chgData name="Wang, David" userId="5ba1598c-ec07-46f3-a0aa-a1cc2acb9765" providerId="ADAL" clId="{14C079B1-3763-444B-B216-374EF69EE7DF}" dt="2021-07-26T13:07:15.458" v="80319"/>
          <ac:spMkLst>
            <pc:docMk/>
            <pc:sldMk cId="3169341715" sldId="9154"/>
            <ac:spMk id="80" creationId="{A4D7374B-2C23-4273-A398-91DDE9F03672}"/>
          </ac:spMkLst>
        </pc:spChg>
        <pc:spChg chg="add mod ord">
          <ac:chgData name="Wang, David" userId="5ba1598c-ec07-46f3-a0aa-a1cc2acb9765" providerId="ADAL" clId="{14C079B1-3763-444B-B216-374EF69EE7DF}" dt="2021-07-26T13:07:16.060" v="80442" actId="948"/>
          <ac:spMkLst>
            <pc:docMk/>
            <pc:sldMk cId="3169341715" sldId="9154"/>
            <ac:spMk id="81" creationId="{B85F7E2B-CFCA-4445-B16B-6B64CB34FCF9}"/>
          </ac:spMkLst>
        </pc:spChg>
        <pc:spChg chg="add mod ord">
          <ac:chgData name="Wang, David" userId="5ba1598c-ec07-46f3-a0aa-a1cc2acb9765" providerId="ADAL" clId="{14C079B1-3763-444B-B216-374EF69EE7DF}" dt="2021-07-26T13:07:15.937" v="80424" actId="948"/>
          <ac:spMkLst>
            <pc:docMk/>
            <pc:sldMk cId="3169341715" sldId="9154"/>
            <ac:spMk id="82" creationId="{A33EA51A-7B3A-4FC8-97AC-69A42040ADF8}"/>
          </ac:spMkLst>
        </pc:spChg>
        <pc:spChg chg="add mod">
          <ac:chgData name="Wang, David" userId="5ba1598c-ec07-46f3-a0aa-a1cc2acb9765" providerId="ADAL" clId="{14C079B1-3763-444B-B216-374EF69EE7DF}" dt="2021-07-26T13:07:15.422" v="80313"/>
          <ac:spMkLst>
            <pc:docMk/>
            <pc:sldMk cId="3169341715" sldId="9154"/>
            <ac:spMk id="83" creationId="{772A4F77-564E-457A-90EF-A16AC96C196C}"/>
          </ac:spMkLst>
        </pc:spChg>
        <pc:spChg chg="add del mod">
          <ac:chgData name="Wang, David" userId="5ba1598c-ec07-46f3-a0aa-a1cc2acb9765" providerId="ADAL" clId="{14C079B1-3763-444B-B216-374EF69EE7DF}" dt="2021-07-26T13:07:15.422" v="80312"/>
          <ac:spMkLst>
            <pc:docMk/>
            <pc:sldMk cId="3169341715" sldId="9154"/>
            <ac:spMk id="84" creationId="{1D104F53-9839-422F-BCBA-B8476B3FE58B}"/>
          </ac:spMkLst>
        </pc:spChg>
        <pc:spChg chg="add mod">
          <ac:chgData name="Wang, David" userId="5ba1598c-ec07-46f3-a0aa-a1cc2acb9765" providerId="ADAL" clId="{14C079B1-3763-444B-B216-374EF69EE7DF}" dt="2021-07-26T13:07:15.438" v="80314"/>
          <ac:spMkLst>
            <pc:docMk/>
            <pc:sldMk cId="3169341715" sldId="9154"/>
            <ac:spMk id="85" creationId="{CD758341-5BBD-4B50-A9E1-2EBF852447D9}"/>
          </ac:spMkLst>
        </pc:spChg>
        <pc:spChg chg="add mod">
          <ac:chgData name="Wang, David" userId="5ba1598c-ec07-46f3-a0aa-a1cc2acb9765" providerId="ADAL" clId="{14C079B1-3763-444B-B216-374EF69EE7DF}" dt="2021-07-26T13:07:15.422" v="80311"/>
          <ac:spMkLst>
            <pc:docMk/>
            <pc:sldMk cId="3169341715" sldId="9154"/>
            <ac:spMk id="86" creationId="{2036FF84-E471-4CB9-B777-6B6879D81FA5}"/>
          </ac:spMkLst>
        </pc:spChg>
        <pc:spChg chg="add mod ord">
          <ac:chgData name="Wang, David" userId="5ba1598c-ec07-46f3-a0aa-a1cc2acb9765" providerId="ADAL" clId="{14C079B1-3763-444B-B216-374EF69EE7DF}" dt="2021-07-26T13:07:15.975" v="80429" actId="948"/>
          <ac:spMkLst>
            <pc:docMk/>
            <pc:sldMk cId="3169341715" sldId="9154"/>
            <ac:spMk id="87" creationId="{FC06A9A2-7C32-4A9B-96C6-90B5CC7CEDD5}"/>
          </ac:spMkLst>
        </pc:spChg>
        <pc:spChg chg="add mod">
          <ac:chgData name="Wang, David" userId="5ba1598c-ec07-46f3-a0aa-a1cc2acb9765" providerId="ADAL" clId="{14C079B1-3763-444B-B216-374EF69EE7DF}" dt="2021-07-26T13:07:15.621" v="80360"/>
          <ac:spMkLst>
            <pc:docMk/>
            <pc:sldMk cId="3169341715" sldId="9154"/>
            <ac:spMk id="88" creationId="{4B2F6ECA-3DC1-4B7E-B41F-F10054EE5545}"/>
          </ac:spMkLst>
        </pc:spChg>
        <pc:spChg chg="add del mod modVis">
          <ac:chgData name="Wang, David" userId="5ba1598c-ec07-46f3-a0aa-a1cc2acb9765" providerId="ADAL" clId="{14C079B1-3763-444B-B216-374EF69EE7DF}" dt="2021-07-26T12:31:38.976" v="60395"/>
          <ac:spMkLst>
            <pc:docMk/>
            <pc:sldMk cId="3169341715" sldId="9154"/>
            <ac:spMk id="90" creationId="{0ECADB3C-BB9A-418E-BE8C-41EBBD532EB4}"/>
          </ac:spMkLst>
        </pc:spChg>
        <pc:spChg chg="add del mod modVis">
          <ac:chgData name="Wang, David" userId="5ba1598c-ec07-46f3-a0aa-a1cc2acb9765" providerId="ADAL" clId="{14C079B1-3763-444B-B216-374EF69EE7DF}" dt="2021-07-26T12:31:40.142" v="60487"/>
          <ac:spMkLst>
            <pc:docMk/>
            <pc:sldMk cId="3169341715" sldId="9154"/>
            <ac:spMk id="91" creationId="{0693EE47-22FB-4F00-8804-0754091A41B0}"/>
          </ac:spMkLst>
        </pc:spChg>
        <pc:spChg chg="add del mod modVis">
          <ac:chgData name="Wang, David" userId="5ba1598c-ec07-46f3-a0aa-a1cc2acb9765" providerId="ADAL" clId="{14C079B1-3763-444B-B216-374EF69EE7DF}" dt="2021-07-26T12:31:41.400" v="60578"/>
          <ac:spMkLst>
            <pc:docMk/>
            <pc:sldMk cId="3169341715" sldId="9154"/>
            <ac:spMk id="92" creationId="{2E2EA690-ACEE-4BF3-9EE7-A0278ED674AF}"/>
          </ac:spMkLst>
        </pc:spChg>
        <pc:spChg chg="add del mod modVis">
          <ac:chgData name="Wang, David" userId="5ba1598c-ec07-46f3-a0aa-a1cc2acb9765" providerId="ADAL" clId="{14C079B1-3763-444B-B216-374EF69EE7DF}" dt="2021-07-26T12:31:42.380" v="60670"/>
          <ac:spMkLst>
            <pc:docMk/>
            <pc:sldMk cId="3169341715" sldId="9154"/>
            <ac:spMk id="93" creationId="{59B5635B-47D0-4ED7-8944-DDCBC7ADF9D2}"/>
          </ac:spMkLst>
        </pc:spChg>
        <pc:spChg chg="add del mod modVis">
          <ac:chgData name="Wang, David" userId="5ba1598c-ec07-46f3-a0aa-a1cc2acb9765" providerId="ADAL" clId="{14C079B1-3763-444B-B216-374EF69EE7DF}" dt="2021-07-26T12:31:43.437" v="60761"/>
          <ac:spMkLst>
            <pc:docMk/>
            <pc:sldMk cId="3169341715" sldId="9154"/>
            <ac:spMk id="94" creationId="{4260EAFF-D640-4F1A-8761-B21C051F0404}"/>
          </ac:spMkLst>
        </pc:spChg>
        <pc:spChg chg="add del mod modVis">
          <ac:chgData name="Wang, David" userId="5ba1598c-ec07-46f3-a0aa-a1cc2acb9765" providerId="ADAL" clId="{14C079B1-3763-444B-B216-374EF69EE7DF}" dt="2021-07-26T12:43:24.377" v="65350"/>
          <ac:spMkLst>
            <pc:docMk/>
            <pc:sldMk cId="3169341715" sldId="9154"/>
            <ac:spMk id="100" creationId="{0FF0621C-679C-4CF5-92A0-31513322D68D}"/>
          </ac:spMkLst>
        </pc:spChg>
        <pc:spChg chg="add del mod modVis">
          <ac:chgData name="Wang, David" userId="5ba1598c-ec07-46f3-a0aa-a1cc2acb9765" providerId="ADAL" clId="{14C079B1-3763-444B-B216-374EF69EE7DF}" dt="2021-07-26T12:44:00.241" v="66298" actId="962"/>
          <ac:spMkLst>
            <pc:docMk/>
            <pc:sldMk cId="3169341715" sldId="9154"/>
            <ac:spMk id="101" creationId="{37C31E94-D6F3-4AC1-9C42-83D26C9720DE}"/>
          </ac:spMkLst>
        </pc:spChg>
        <pc:spChg chg="add del mod modVis">
          <ac:chgData name="Wang, David" userId="5ba1598c-ec07-46f3-a0aa-a1cc2acb9765" providerId="ADAL" clId="{14C079B1-3763-444B-B216-374EF69EE7DF}" dt="2021-07-26T12:44:10.495" v="66746"/>
          <ac:spMkLst>
            <pc:docMk/>
            <pc:sldMk cId="3169341715" sldId="9154"/>
            <ac:spMk id="102" creationId="{06668E88-1298-41A4-ADC9-3E4811D9F6FD}"/>
          </ac:spMkLst>
        </pc:spChg>
        <pc:spChg chg="add mod ord">
          <ac:chgData name="Wang, David" userId="5ba1598c-ec07-46f3-a0aa-a1cc2acb9765" providerId="ADAL" clId="{14C079B1-3763-444B-B216-374EF69EE7DF}" dt="2021-07-26T13:07:16.191" v="80457"/>
          <ac:spMkLst>
            <pc:docMk/>
            <pc:sldMk cId="3169341715" sldId="9154"/>
            <ac:spMk id="103" creationId="{B6F2E3C9-5A91-46B0-9601-E545402709F3}"/>
          </ac:spMkLst>
        </pc:spChg>
        <pc:spChg chg="add del mod modVis">
          <ac:chgData name="Wang, David" userId="5ba1598c-ec07-46f3-a0aa-a1cc2acb9765" providerId="ADAL" clId="{14C079B1-3763-444B-B216-374EF69EE7DF}" dt="2021-07-26T12:45:13.967" v="67846"/>
          <ac:spMkLst>
            <pc:docMk/>
            <pc:sldMk cId="3169341715" sldId="9154"/>
            <ac:spMk id="104" creationId="{C8FC4D16-EFFD-40AA-9D93-A6526C54CDDF}"/>
          </ac:spMkLst>
        </pc:spChg>
        <pc:spChg chg="add del mod modVis">
          <ac:chgData name="Wang, David" userId="5ba1598c-ec07-46f3-a0aa-a1cc2acb9765" providerId="ADAL" clId="{14C079B1-3763-444B-B216-374EF69EE7DF}" dt="2021-07-26T12:45:18.968" v="68059"/>
          <ac:spMkLst>
            <pc:docMk/>
            <pc:sldMk cId="3169341715" sldId="9154"/>
            <ac:spMk id="105" creationId="{6573B04B-7E3D-423F-9753-F327D8CBDFA2}"/>
          </ac:spMkLst>
        </pc:spChg>
        <pc:spChg chg="add del mod modVis">
          <ac:chgData name="Wang, David" userId="5ba1598c-ec07-46f3-a0aa-a1cc2acb9765" providerId="ADAL" clId="{14C079B1-3763-444B-B216-374EF69EE7DF}" dt="2021-07-26T12:50:53.977" v="69029"/>
          <ac:spMkLst>
            <pc:docMk/>
            <pc:sldMk cId="3169341715" sldId="9154"/>
            <ac:spMk id="106" creationId="{6951F1FF-CE53-485E-BD0A-7F8FB1F8BB79}"/>
          </ac:spMkLst>
        </pc:spChg>
        <pc:spChg chg="add del mod modVis">
          <ac:chgData name="Wang, David" userId="5ba1598c-ec07-46f3-a0aa-a1cc2acb9765" providerId="ADAL" clId="{14C079B1-3763-444B-B216-374EF69EE7DF}" dt="2021-07-26T12:50:55.618" v="69120"/>
          <ac:spMkLst>
            <pc:docMk/>
            <pc:sldMk cId="3169341715" sldId="9154"/>
            <ac:spMk id="107" creationId="{8C52C291-D044-4D63-8677-2A77D0CB2ABE}"/>
          </ac:spMkLst>
        </pc:spChg>
        <pc:spChg chg="add del mod modVis">
          <ac:chgData name="Wang, David" userId="5ba1598c-ec07-46f3-a0aa-a1cc2acb9765" providerId="ADAL" clId="{14C079B1-3763-444B-B216-374EF69EE7DF}" dt="2021-07-26T12:50:56.521" v="69211"/>
          <ac:spMkLst>
            <pc:docMk/>
            <pc:sldMk cId="3169341715" sldId="9154"/>
            <ac:spMk id="108" creationId="{BBA771E6-7AC1-44C9-B5F3-866A73AD1577}"/>
          </ac:spMkLst>
        </pc:spChg>
        <pc:spChg chg="add del mod modVis">
          <ac:chgData name="Wang, David" userId="5ba1598c-ec07-46f3-a0aa-a1cc2acb9765" providerId="ADAL" clId="{14C079B1-3763-444B-B216-374EF69EE7DF}" dt="2021-07-26T12:51:00.246" v="69320"/>
          <ac:spMkLst>
            <pc:docMk/>
            <pc:sldMk cId="3169341715" sldId="9154"/>
            <ac:spMk id="109" creationId="{8C211A95-B1C0-4B79-8513-5144FEE292DA}"/>
          </ac:spMkLst>
        </pc:spChg>
        <pc:spChg chg="add del mod modVis">
          <ac:chgData name="Wang, David" userId="5ba1598c-ec07-46f3-a0aa-a1cc2acb9765" providerId="ADAL" clId="{14C079B1-3763-444B-B216-374EF69EE7DF}" dt="2021-07-26T12:51:05.531" v="69412"/>
          <ac:spMkLst>
            <pc:docMk/>
            <pc:sldMk cId="3169341715" sldId="9154"/>
            <ac:spMk id="110" creationId="{AC0F34D4-2986-4E65-BEB2-5D0CF1DD3EDE}"/>
          </ac:spMkLst>
        </pc:spChg>
        <pc:spChg chg="add del mod modVis">
          <ac:chgData name="Wang, David" userId="5ba1598c-ec07-46f3-a0aa-a1cc2acb9765" providerId="ADAL" clId="{14C079B1-3763-444B-B216-374EF69EE7DF}" dt="2021-07-26T12:51:11.151" v="69505"/>
          <ac:spMkLst>
            <pc:docMk/>
            <pc:sldMk cId="3169341715" sldId="9154"/>
            <ac:spMk id="111" creationId="{BF26487F-6E65-449D-86DC-5C5C3187AB55}"/>
          </ac:spMkLst>
        </pc:spChg>
        <pc:spChg chg="add del mod modVis">
          <ac:chgData name="Wang, David" userId="5ba1598c-ec07-46f3-a0aa-a1cc2acb9765" providerId="ADAL" clId="{14C079B1-3763-444B-B216-374EF69EE7DF}" dt="2021-07-26T12:51:11.999" v="69596"/>
          <ac:spMkLst>
            <pc:docMk/>
            <pc:sldMk cId="3169341715" sldId="9154"/>
            <ac:spMk id="112" creationId="{7F1D9F78-9BE9-4C19-897C-499B913F386C}"/>
          </ac:spMkLst>
        </pc:spChg>
        <pc:spChg chg="add del mod modVis">
          <ac:chgData name="Wang, David" userId="5ba1598c-ec07-46f3-a0aa-a1cc2acb9765" providerId="ADAL" clId="{14C079B1-3763-444B-B216-374EF69EE7DF}" dt="2021-07-26T12:51:13.103" v="69687"/>
          <ac:spMkLst>
            <pc:docMk/>
            <pc:sldMk cId="3169341715" sldId="9154"/>
            <ac:spMk id="113" creationId="{BBAF7926-B761-453F-8C14-288F4B83A891}"/>
          </ac:spMkLst>
        </pc:spChg>
        <pc:spChg chg="add del mod modVis">
          <ac:chgData name="Wang, David" userId="5ba1598c-ec07-46f3-a0aa-a1cc2acb9765" providerId="ADAL" clId="{14C079B1-3763-444B-B216-374EF69EE7DF}" dt="2021-07-26T12:51:15.742" v="69944"/>
          <ac:spMkLst>
            <pc:docMk/>
            <pc:sldMk cId="3169341715" sldId="9154"/>
            <ac:spMk id="114" creationId="{9EC4FB8F-311D-458D-A84E-9E8CC26147B1}"/>
          </ac:spMkLst>
        </pc:spChg>
        <pc:spChg chg="add del mod modVis">
          <ac:chgData name="Wang, David" userId="5ba1598c-ec07-46f3-a0aa-a1cc2acb9765" providerId="ADAL" clId="{14C079B1-3763-444B-B216-374EF69EE7DF}" dt="2021-07-26T12:51:16.744" v="70042"/>
          <ac:spMkLst>
            <pc:docMk/>
            <pc:sldMk cId="3169341715" sldId="9154"/>
            <ac:spMk id="115" creationId="{AE8EB74A-108F-478A-B849-5E4A322620F9}"/>
          </ac:spMkLst>
        </pc:spChg>
        <pc:spChg chg="add del mod modVis">
          <ac:chgData name="Wang, David" userId="5ba1598c-ec07-46f3-a0aa-a1cc2acb9765" providerId="ADAL" clId="{14C079B1-3763-444B-B216-374EF69EE7DF}" dt="2021-07-26T12:51:19.420" v="70139"/>
          <ac:spMkLst>
            <pc:docMk/>
            <pc:sldMk cId="3169341715" sldId="9154"/>
            <ac:spMk id="116" creationId="{E3F76B2D-A0A8-4522-A898-81F4436A7B1F}"/>
          </ac:spMkLst>
        </pc:spChg>
        <pc:spChg chg="add del mod modVis">
          <ac:chgData name="Wang, David" userId="5ba1598c-ec07-46f3-a0aa-a1cc2acb9765" providerId="ADAL" clId="{14C079B1-3763-444B-B216-374EF69EE7DF}" dt="2021-07-26T12:51:20.491" v="70233"/>
          <ac:spMkLst>
            <pc:docMk/>
            <pc:sldMk cId="3169341715" sldId="9154"/>
            <ac:spMk id="117" creationId="{AA60D400-B6F8-4462-9507-09C4DB8F0E91}"/>
          </ac:spMkLst>
        </pc:spChg>
        <pc:spChg chg="add del mod modVis">
          <ac:chgData name="Wang, David" userId="5ba1598c-ec07-46f3-a0aa-a1cc2acb9765" providerId="ADAL" clId="{14C079B1-3763-444B-B216-374EF69EE7DF}" dt="2021-07-26T12:51:21.540" v="70331"/>
          <ac:spMkLst>
            <pc:docMk/>
            <pc:sldMk cId="3169341715" sldId="9154"/>
            <ac:spMk id="118" creationId="{B493F1CB-3B64-441E-8BA4-50AFD7D97B18}"/>
          </ac:spMkLst>
        </pc:spChg>
        <pc:spChg chg="add del mod modVis">
          <ac:chgData name="Wang, David" userId="5ba1598c-ec07-46f3-a0aa-a1cc2acb9765" providerId="ADAL" clId="{14C079B1-3763-444B-B216-374EF69EE7DF}" dt="2021-07-26T12:51:22.559" v="70425"/>
          <ac:spMkLst>
            <pc:docMk/>
            <pc:sldMk cId="3169341715" sldId="9154"/>
            <ac:spMk id="119" creationId="{F4F49FBF-9A16-446A-8B06-34E157BC5B44}"/>
          </ac:spMkLst>
        </pc:spChg>
        <pc:spChg chg="add del mod modVis">
          <ac:chgData name="Wang, David" userId="5ba1598c-ec07-46f3-a0aa-a1cc2acb9765" providerId="ADAL" clId="{14C079B1-3763-444B-B216-374EF69EE7DF}" dt="2021-07-26T12:51:23.392" v="70520"/>
          <ac:spMkLst>
            <pc:docMk/>
            <pc:sldMk cId="3169341715" sldId="9154"/>
            <ac:spMk id="120" creationId="{A7350057-6EB2-47BC-9A8F-CAF62F76243B}"/>
          </ac:spMkLst>
        </pc:spChg>
        <pc:spChg chg="add del mod modVis">
          <ac:chgData name="Wang, David" userId="5ba1598c-ec07-46f3-a0aa-a1cc2acb9765" providerId="ADAL" clId="{14C079B1-3763-444B-B216-374EF69EE7DF}" dt="2021-07-26T12:51:52.785" v="70783"/>
          <ac:spMkLst>
            <pc:docMk/>
            <pc:sldMk cId="3169341715" sldId="9154"/>
            <ac:spMk id="121" creationId="{95CD0E6B-FD72-4000-9573-249B0F1ECD24}"/>
          </ac:spMkLst>
        </pc:spChg>
        <pc:spChg chg="add del mod modVis">
          <ac:chgData name="Wang, David" userId="5ba1598c-ec07-46f3-a0aa-a1cc2acb9765" providerId="ADAL" clId="{14C079B1-3763-444B-B216-374EF69EE7DF}" dt="2021-07-26T12:51:54.246" v="70877"/>
          <ac:spMkLst>
            <pc:docMk/>
            <pc:sldMk cId="3169341715" sldId="9154"/>
            <ac:spMk id="122" creationId="{6555C6C9-ACB8-49F9-8598-68130B59199D}"/>
          </ac:spMkLst>
        </pc:spChg>
        <pc:spChg chg="add del mod modVis">
          <ac:chgData name="Wang, David" userId="5ba1598c-ec07-46f3-a0aa-a1cc2acb9765" providerId="ADAL" clId="{14C079B1-3763-444B-B216-374EF69EE7DF}" dt="2021-07-26T12:51:55.047" v="70969"/>
          <ac:spMkLst>
            <pc:docMk/>
            <pc:sldMk cId="3169341715" sldId="9154"/>
            <ac:spMk id="123" creationId="{F62EF76F-9ED4-4054-AF62-E164CFA6563B}"/>
          </ac:spMkLst>
        </pc:spChg>
        <pc:spChg chg="add del mod modVis">
          <ac:chgData name="Wang, David" userId="5ba1598c-ec07-46f3-a0aa-a1cc2acb9765" providerId="ADAL" clId="{14C079B1-3763-444B-B216-374EF69EE7DF}" dt="2021-07-26T12:51:56.583" v="71061"/>
          <ac:spMkLst>
            <pc:docMk/>
            <pc:sldMk cId="3169341715" sldId="9154"/>
            <ac:spMk id="124" creationId="{23123F40-5FC1-4886-8909-7C1BA1AC6454}"/>
          </ac:spMkLst>
        </pc:spChg>
        <pc:spChg chg="add del mod modVis">
          <ac:chgData name="Wang, David" userId="5ba1598c-ec07-46f3-a0aa-a1cc2acb9765" providerId="ADAL" clId="{14C079B1-3763-444B-B216-374EF69EE7DF}" dt="2021-07-26T12:52:02.224" v="71153"/>
          <ac:spMkLst>
            <pc:docMk/>
            <pc:sldMk cId="3169341715" sldId="9154"/>
            <ac:spMk id="125" creationId="{A280E4D7-4507-47A8-B7CA-ABDB0558449B}"/>
          </ac:spMkLst>
        </pc:spChg>
        <pc:spChg chg="add del mod modVis">
          <ac:chgData name="Wang, David" userId="5ba1598c-ec07-46f3-a0aa-a1cc2acb9765" providerId="ADAL" clId="{14C079B1-3763-444B-B216-374EF69EE7DF}" dt="2021-07-26T12:54:03.531" v="71248"/>
          <ac:spMkLst>
            <pc:docMk/>
            <pc:sldMk cId="3169341715" sldId="9154"/>
            <ac:spMk id="126" creationId="{C828D9F4-F25D-4C1B-931C-EDE6BBC0A79B}"/>
          </ac:spMkLst>
        </pc:spChg>
        <pc:spChg chg="add del mod modVis">
          <ac:chgData name="Wang, David" userId="5ba1598c-ec07-46f3-a0aa-a1cc2acb9765" providerId="ADAL" clId="{14C079B1-3763-444B-B216-374EF69EE7DF}" dt="2021-07-26T12:54:09.286" v="71480"/>
          <ac:spMkLst>
            <pc:docMk/>
            <pc:sldMk cId="3169341715" sldId="9154"/>
            <ac:spMk id="127" creationId="{954AB8A8-5C29-4497-9A2F-498D08C4613A}"/>
          </ac:spMkLst>
        </pc:spChg>
        <pc:spChg chg="add del mod modVis">
          <ac:chgData name="Wang, David" userId="5ba1598c-ec07-46f3-a0aa-a1cc2acb9765" providerId="ADAL" clId="{14C079B1-3763-444B-B216-374EF69EE7DF}" dt="2021-07-26T12:54:10.220" v="71571"/>
          <ac:spMkLst>
            <pc:docMk/>
            <pc:sldMk cId="3169341715" sldId="9154"/>
            <ac:spMk id="128" creationId="{D197A12B-D683-41E2-A41C-FE5878E4C7A7}"/>
          </ac:spMkLst>
        </pc:spChg>
        <pc:spChg chg="add del mod modVis">
          <ac:chgData name="Wang, David" userId="5ba1598c-ec07-46f3-a0aa-a1cc2acb9765" providerId="ADAL" clId="{14C079B1-3763-444B-B216-374EF69EE7DF}" dt="2021-07-26T12:54:14.631" v="71667"/>
          <ac:spMkLst>
            <pc:docMk/>
            <pc:sldMk cId="3169341715" sldId="9154"/>
            <ac:spMk id="129" creationId="{10A65C51-5E39-4D79-8C4C-23D023183844}"/>
          </ac:spMkLst>
        </pc:spChg>
        <pc:spChg chg="add del mod modVis">
          <ac:chgData name="Wang, David" userId="5ba1598c-ec07-46f3-a0aa-a1cc2acb9765" providerId="ADAL" clId="{14C079B1-3763-444B-B216-374EF69EE7DF}" dt="2021-07-26T12:54:16.065" v="71758"/>
          <ac:spMkLst>
            <pc:docMk/>
            <pc:sldMk cId="3169341715" sldId="9154"/>
            <ac:spMk id="130" creationId="{103A0E68-C618-4D0E-862C-3CA23C677996}"/>
          </ac:spMkLst>
        </pc:spChg>
        <pc:spChg chg="add del mod modVis">
          <ac:chgData name="Wang, David" userId="5ba1598c-ec07-46f3-a0aa-a1cc2acb9765" providerId="ADAL" clId="{14C079B1-3763-444B-B216-374EF69EE7DF}" dt="2021-07-26T12:54:18.564" v="71995"/>
          <ac:spMkLst>
            <pc:docMk/>
            <pc:sldMk cId="3169341715" sldId="9154"/>
            <ac:spMk id="131" creationId="{C51CEDCC-60FB-49B2-B6AB-BC77A8D43144}"/>
          </ac:spMkLst>
        </pc:spChg>
        <pc:spChg chg="add del mod modVis">
          <ac:chgData name="Wang, David" userId="5ba1598c-ec07-46f3-a0aa-a1cc2acb9765" providerId="ADAL" clId="{14C079B1-3763-444B-B216-374EF69EE7DF}" dt="2021-07-26T12:54:19.697" v="72089"/>
          <ac:spMkLst>
            <pc:docMk/>
            <pc:sldMk cId="3169341715" sldId="9154"/>
            <ac:spMk id="132" creationId="{86803650-6CED-4593-BC8A-2FD8AE1861C2}"/>
          </ac:spMkLst>
        </pc:spChg>
        <pc:spChg chg="add del mod modVis">
          <ac:chgData name="Wang, David" userId="5ba1598c-ec07-46f3-a0aa-a1cc2acb9765" providerId="ADAL" clId="{14C079B1-3763-444B-B216-374EF69EE7DF}" dt="2021-07-26T12:56:09.441" v="72661"/>
          <ac:spMkLst>
            <pc:docMk/>
            <pc:sldMk cId="3169341715" sldId="9154"/>
            <ac:spMk id="133" creationId="{13DB3681-FEEF-4518-83CC-EC7695D2C266}"/>
          </ac:spMkLst>
        </pc:spChg>
        <pc:spChg chg="add del mod modVis">
          <ac:chgData name="Wang, David" userId="5ba1598c-ec07-46f3-a0aa-a1cc2acb9765" providerId="ADAL" clId="{14C079B1-3763-444B-B216-374EF69EE7DF}" dt="2021-07-26T12:56:11.547" v="72759"/>
          <ac:spMkLst>
            <pc:docMk/>
            <pc:sldMk cId="3169341715" sldId="9154"/>
            <ac:spMk id="134" creationId="{0451AE13-8612-402B-B668-F0B355F41B60}"/>
          </ac:spMkLst>
        </pc:spChg>
        <pc:spChg chg="add del mod modVis">
          <ac:chgData name="Wang, David" userId="5ba1598c-ec07-46f3-a0aa-a1cc2acb9765" providerId="ADAL" clId="{14C079B1-3763-444B-B216-374EF69EE7DF}" dt="2021-07-26T12:58:01.884" v="73709"/>
          <ac:spMkLst>
            <pc:docMk/>
            <pc:sldMk cId="3169341715" sldId="9154"/>
            <ac:spMk id="135" creationId="{EF1AE280-B438-4298-B5E2-546E77A0B17B}"/>
          </ac:spMkLst>
        </pc:spChg>
        <pc:spChg chg="add mod ord">
          <ac:chgData name="Wang, David" userId="5ba1598c-ec07-46f3-a0aa-a1cc2acb9765" providerId="ADAL" clId="{14C079B1-3763-444B-B216-374EF69EE7DF}" dt="2021-07-26T13:07:15.991" v="80432" actId="948"/>
          <ac:spMkLst>
            <pc:docMk/>
            <pc:sldMk cId="3169341715" sldId="9154"/>
            <ac:spMk id="136" creationId="{A52C381E-E440-4EB7-A655-A5267A1DB525}"/>
          </ac:spMkLst>
        </pc:spChg>
        <pc:spChg chg="add del mod ord modVis">
          <ac:chgData name="Wang, David" userId="5ba1598c-ec07-46f3-a0aa-a1cc2acb9765" providerId="ADAL" clId="{14C079B1-3763-444B-B216-374EF69EE7DF}" dt="2021-07-26T13:02:01.747" v="74718"/>
          <ac:spMkLst>
            <pc:docMk/>
            <pc:sldMk cId="3169341715" sldId="9154"/>
            <ac:spMk id="137" creationId="{46681F1B-5ACD-4A71-B85F-C1B9D449A4A2}"/>
          </ac:spMkLst>
        </pc:spChg>
        <pc:spChg chg="add mod ord">
          <ac:chgData name="Wang, David" userId="5ba1598c-ec07-46f3-a0aa-a1cc2acb9765" providerId="ADAL" clId="{14C079B1-3763-444B-B216-374EF69EE7DF}" dt="2021-07-26T13:05:41.286" v="79461"/>
          <ac:spMkLst>
            <pc:docMk/>
            <pc:sldMk cId="3169341715" sldId="9154"/>
            <ac:spMk id="138" creationId="{54E6A56B-A12B-4533-8B43-4D6B2E60D71E}"/>
          </ac:spMkLst>
        </pc:spChg>
        <pc:spChg chg="add del mod modVis">
          <ac:chgData name="Wang, David" userId="5ba1598c-ec07-46f3-a0aa-a1cc2acb9765" providerId="ADAL" clId="{14C079B1-3763-444B-B216-374EF69EE7DF}" dt="2021-07-26T13:02:14.544" v="75518"/>
          <ac:spMkLst>
            <pc:docMk/>
            <pc:sldMk cId="3169341715" sldId="9154"/>
            <ac:spMk id="139" creationId="{07614139-87C1-42F2-A1CB-9B3B22C9A7E9}"/>
          </ac:spMkLst>
        </pc:spChg>
        <pc:spChg chg="add del mod modVis">
          <ac:chgData name="Wang, David" userId="5ba1598c-ec07-46f3-a0aa-a1cc2acb9765" providerId="ADAL" clId="{14C079B1-3763-444B-B216-374EF69EE7DF}" dt="2021-07-26T13:02:16.883" v="75628"/>
          <ac:spMkLst>
            <pc:docMk/>
            <pc:sldMk cId="3169341715" sldId="9154"/>
            <ac:spMk id="140" creationId="{2E115954-58FD-4CEA-A3AE-88E1C22BF825}"/>
          </ac:spMkLst>
        </pc:spChg>
        <pc:spChg chg="add del mod modVis">
          <ac:chgData name="Wang, David" userId="5ba1598c-ec07-46f3-a0aa-a1cc2acb9765" providerId="ADAL" clId="{14C079B1-3763-444B-B216-374EF69EE7DF}" dt="2021-07-26T13:02:18.369" v="75738"/>
          <ac:spMkLst>
            <pc:docMk/>
            <pc:sldMk cId="3169341715" sldId="9154"/>
            <ac:spMk id="141" creationId="{2419C620-6AE5-43BB-A095-F75459AA4EA9}"/>
          </ac:spMkLst>
        </pc:spChg>
        <pc:spChg chg="add del mod modVis">
          <ac:chgData name="Wang, David" userId="5ba1598c-ec07-46f3-a0aa-a1cc2acb9765" providerId="ADAL" clId="{14C079B1-3763-444B-B216-374EF69EE7DF}" dt="2021-07-26T13:02:24.398" v="75835"/>
          <ac:spMkLst>
            <pc:docMk/>
            <pc:sldMk cId="3169341715" sldId="9154"/>
            <ac:spMk id="142" creationId="{642FB85E-DAF1-452F-A434-4DD22A1E5E95}"/>
          </ac:spMkLst>
        </pc:spChg>
        <pc:spChg chg="add mod ord">
          <ac:chgData name="Wang, David" userId="5ba1598c-ec07-46f3-a0aa-a1cc2acb9765" providerId="ADAL" clId="{14C079B1-3763-444B-B216-374EF69EE7DF}" dt="2021-07-26T13:07:16.022" v="80437" actId="948"/>
          <ac:spMkLst>
            <pc:docMk/>
            <pc:sldMk cId="3169341715" sldId="9154"/>
            <ac:spMk id="143" creationId="{05FF28C0-E132-44C7-B5D9-4717E85D155E}"/>
          </ac:spMkLst>
        </pc:spChg>
        <pc:spChg chg="add del mod ord modVis">
          <ac:chgData name="Wang, David" userId="5ba1598c-ec07-46f3-a0aa-a1cc2acb9765" providerId="ADAL" clId="{14C079B1-3763-444B-B216-374EF69EE7DF}" dt="2021-07-26T13:02:39.790" v="76418"/>
          <ac:spMkLst>
            <pc:docMk/>
            <pc:sldMk cId="3169341715" sldId="9154"/>
            <ac:spMk id="144" creationId="{F2F21F97-C2B7-47F7-92D0-9D537BDE2BD6}"/>
          </ac:spMkLst>
        </pc:spChg>
        <pc:spChg chg="add mod ord">
          <ac:chgData name="Wang, David" userId="5ba1598c-ec07-46f3-a0aa-a1cc2acb9765" providerId="ADAL" clId="{14C079B1-3763-444B-B216-374EF69EE7DF}" dt="2021-07-26T13:05:41.286" v="79469"/>
          <ac:spMkLst>
            <pc:docMk/>
            <pc:sldMk cId="3169341715" sldId="9154"/>
            <ac:spMk id="145" creationId="{AE2FD692-9EC1-4E2E-91E6-CB5902F17FDB}"/>
          </ac:spMkLst>
        </pc:spChg>
        <pc:spChg chg="add del mod modVis">
          <ac:chgData name="Wang, David" userId="5ba1598c-ec07-46f3-a0aa-a1cc2acb9765" providerId="ADAL" clId="{14C079B1-3763-444B-B216-374EF69EE7DF}" dt="2021-07-26T13:02:43.683" v="76529"/>
          <ac:spMkLst>
            <pc:docMk/>
            <pc:sldMk cId="3169341715" sldId="9154"/>
            <ac:spMk id="146" creationId="{129B24C0-E7CB-4754-A356-EF9D602500F9}"/>
          </ac:spMkLst>
        </pc:spChg>
        <pc:spChg chg="add del mod ord">
          <ac:chgData name="Wang, David" userId="5ba1598c-ec07-46f3-a0aa-a1cc2acb9765" providerId="ADAL" clId="{14C079B1-3763-444B-B216-374EF69EE7DF}" dt="2021-07-26T13:04:12.454" v="77347"/>
          <ac:spMkLst>
            <pc:docMk/>
            <pc:sldMk cId="3169341715" sldId="9154"/>
            <ac:spMk id="147" creationId="{FA662ED9-EBAB-41A8-820C-C5C7D33C100A}"/>
          </ac:spMkLst>
        </pc:spChg>
        <pc:spChg chg="add del mod ord modVis">
          <ac:chgData name="Wang, David" userId="5ba1598c-ec07-46f3-a0aa-a1cc2acb9765" providerId="ADAL" clId="{14C079B1-3763-444B-B216-374EF69EE7DF}" dt="2021-07-26T13:03:55.604" v="77003"/>
          <ac:spMkLst>
            <pc:docMk/>
            <pc:sldMk cId="3169341715" sldId="9154"/>
            <ac:spMk id="148" creationId="{ABE3614D-8640-4FD1-9A79-6E74DB7C7E9C}"/>
          </ac:spMkLst>
        </pc:spChg>
        <pc:spChg chg="add del mod ord">
          <ac:chgData name="Wang, David" userId="5ba1598c-ec07-46f3-a0aa-a1cc2acb9765" providerId="ADAL" clId="{14C079B1-3763-444B-B216-374EF69EE7DF}" dt="2021-07-26T13:04:14.096" v="77373"/>
          <ac:spMkLst>
            <pc:docMk/>
            <pc:sldMk cId="3169341715" sldId="9154"/>
            <ac:spMk id="149" creationId="{AE98C6F0-7A05-4F8C-A9C0-D5125A3BAFE2}"/>
          </ac:spMkLst>
        </pc:spChg>
        <pc:spChg chg="add mod ord">
          <ac:chgData name="Wang, David" userId="5ba1598c-ec07-46f3-a0aa-a1cc2acb9765" providerId="ADAL" clId="{14C079B1-3763-444B-B216-374EF69EE7DF}" dt="2021-07-26T13:07:15.991" v="80431" actId="948"/>
          <ac:spMkLst>
            <pc:docMk/>
            <pc:sldMk cId="3169341715" sldId="9154"/>
            <ac:spMk id="150" creationId="{CBA92872-647E-4582-A6F6-752B9702CB82}"/>
          </ac:spMkLst>
        </pc:spChg>
        <pc:spChg chg="add del mod ord modVis">
          <ac:chgData name="Wang, David" userId="5ba1598c-ec07-46f3-a0aa-a1cc2acb9765" providerId="ADAL" clId="{14C079B1-3763-444B-B216-374EF69EE7DF}" dt="2021-07-26T13:04:22.319" v="77864"/>
          <ac:spMkLst>
            <pc:docMk/>
            <pc:sldMk cId="3169341715" sldId="9154"/>
            <ac:spMk id="151" creationId="{EB225D09-D2A8-4F12-AFA6-0FF9ED03F624}"/>
          </ac:spMkLst>
        </pc:spChg>
        <pc:spChg chg="add mod ord">
          <ac:chgData name="Wang, David" userId="5ba1598c-ec07-46f3-a0aa-a1cc2acb9765" providerId="ADAL" clId="{14C079B1-3763-444B-B216-374EF69EE7DF}" dt="2021-07-26T13:05:41.302" v="79473"/>
          <ac:spMkLst>
            <pc:docMk/>
            <pc:sldMk cId="3169341715" sldId="9154"/>
            <ac:spMk id="152" creationId="{11B73804-F804-4B40-851D-800A5E795C0F}"/>
          </ac:spMkLst>
        </pc:spChg>
        <pc:spChg chg="add mod ord">
          <ac:chgData name="Wang, David" userId="5ba1598c-ec07-46f3-a0aa-a1cc2acb9765" providerId="ADAL" clId="{14C079B1-3763-444B-B216-374EF69EE7DF}" dt="2021-07-26T13:07:15.991" v="80433" actId="948"/>
          <ac:spMkLst>
            <pc:docMk/>
            <pc:sldMk cId="3169341715" sldId="9154"/>
            <ac:spMk id="153" creationId="{94078093-2FDE-411E-BD1E-9175702D3DC3}"/>
          </ac:spMkLst>
        </pc:spChg>
        <pc:spChg chg="add del mod ord modVis">
          <ac:chgData name="Wang, David" userId="5ba1598c-ec07-46f3-a0aa-a1cc2acb9765" providerId="ADAL" clId="{14C079B1-3763-444B-B216-374EF69EE7DF}" dt="2021-07-26T13:05:18.117" v="78406"/>
          <ac:spMkLst>
            <pc:docMk/>
            <pc:sldMk cId="3169341715" sldId="9154"/>
            <ac:spMk id="154" creationId="{55D6CFD7-D125-4C81-9A60-B9EE2919043A}"/>
          </ac:spMkLst>
        </pc:spChg>
        <pc:spChg chg="add mod ord">
          <ac:chgData name="Wang, David" userId="5ba1598c-ec07-46f3-a0aa-a1cc2acb9765" providerId="ADAL" clId="{14C079B1-3763-444B-B216-374EF69EE7DF}" dt="2021-07-26T13:05:41.271" v="79455"/>
          <ac:spMkLst>
            <pc:docMk/>
            <pc:sldMk cId="3169341715" sldId="9154"/>
            <ac:spMk id="155" creationId="{A76BC2B6-5DE1-478B-8FFA-9CE5B3B32DC8}"/>
          </ac:spMkLst>
        </pc:spChg>
        <pc:spChg chg="add del mod modVis">
          <ac:chgData name="Wang, David" userId="5ba1598c-ec07-46f3-a0aa-a1cc2acb9765" providerId="ADAL" clId="{14C079B1-3763-444B-B216-374EF69EE7DF}" dt="2021-07-26T13:07:16.291" v="80476"/>
          <ac:spMkLst>
            <pc:docMk/>
            <pc:sldMk cId="3169341715" sldId="9154"/>
            <ac:spMk id="158" creationId="{64EFBAB2-6F87-4461-85AE-ED74DA519009}"/>
          </ac:spMkLst>
        </pc:spChg>
        <pc:spChg chg="add del mod modVis">
          <ac:chgData name="Wang, David" userId="5ba1598c-ec07-46f3-a0aa-a1cc2acb9765" providerId="ADAL" clId="{14C079B1-3763-444B-B216-374EF69EE7DF}" dt="2021-07-26T13:26:07.484" v="80519"/>
          <ac:spMkLst>
            <pc:docMk/>
            <pc:sldMk cId="3169341715" sldId="9154"/>
            <ac:spMk id="159" creationId="{48434C7A-B19A-483C-9156-276DA8E317EF}"/>
          </ac:spMkLst>
        </pc:spChg>
        <pc:spChg chg="add del mod modVis">
          <ac:chgData name="Wang, David" userId="5ba1598c-ec07-46f3-a0aa-a1cc2acb9765" providerId="ADAL" clId="{14C079B1-3763-444B-B216-374EF69EE7DF}" dt="2021-07-26T13:26:08.321" v="80560"/>
          <ac:spMkLst>
            <pc:docMk/>
            <pc:sldMk cId="3169341715" sldId="9154"/>
            <ac:spMk id="160" creationId="{BA15BE34-A802-4DD2-85A6-037E17DE9E7A}"/>
          </ac:spMkLst>
        </pc:spChg>
        <pc:spChg chg="add del mod modVis">
          <ac:chgData name="Wang, David" userId="5ba1598c-ec07-46f3-a0aa-a1cc2acb9765" providerId="ADAL" clId="{14C079B1-3763-444B-B216-374EF69EE7DF}" dt="2021-07-26T13:26:09.284" v="80601"/>
          <ac:spMkLst>
            <pc:docMk/>
            <pc:sldMk cId="3169341715" sldId="9154"/>
            <ac:spMk id="161" creationId="{85306694-82BA-4D3A-8049-9D592EF5A881}"/>
          </ac:spMkLst>
        </pc:spChg>
        <pc:graphicFrameChg chg="mod ord">
          <ac:chgData name="Wang, David" userId="5ba1598c-ec07-46f3-a0aa-a1cc2acb9765" providerId="ADAL" clId="{14C079B1-3763-444B-B216-374EF69EE7DF}" dt="2021-07-26T13:26:09.284" v="80603"/>
          <ac:graphicFrameMkLst>
            <pc:docMk/>
            <pc:sldMk cId="3169341715" sldId="9154"/>
            <ac:graphicFrameMk id="22" creationId="{6463FF10-63C4-4C8A-99D4-C218E23160EF}"/>
          </ac:graphicFrameMkLst>
        </pc:graphicFrameChg>
        <pc:picChg chg="add del">
          <ac:chgData name="Wang, David" userId="5ba1598c-ec07-46f3-a0aa-a1cc2acb9765" providerId="ADAL" clId="{14C079B1-3763-444B-B216-374EF69EE7DF}" dt="2021-07-26T12:29:34.604" v="59027" actId="478"/>
          <ac:picMkLst>
            <pc:docMk/>
            <pc:sldMk cId="3169341715" sldId="9154"/>
            <ac:picMk id="2" creationId="{F1F8AB45-4D2E-4A2F-B93F-81B2F1C09C3A}"/>
          </ac:picMkLst>
        </pc:picChg>
        <pc:picChg chg="add mod">
          <ac:chgData name="Wang, David" userId="5ba1598c-ec07-46f3-a0aa-a1cc2acb9765" providerId="ADAL" clId="{14C079B1-3763-444B-B216-374EF69EE7DF}" dt="2021-07-26T13:05:41.340" v="79504"/>
          <ac:picMkLst>
            <pc:docMk/>
            <pc:sldMk cId="3169341715" sldId="9154"/>
            <ac:picMk id="95" creationId="{3CDB9FD5-FB46-4129-A9DE-C9F56505E655}"/>
          </ac:picMkLst>
        </pc:picChg>
        <pc:picChg chg="add mod">
          <ac:chgData name="Wang, David" userId="5ba1598c-ec07-46f3-a0aa-a1cc2acb9765" providerId="ADAL" clId="{14C079B1-3763-444B-B216-374EF69EE7DF}" dt="2021-07-26T13:05:41.340" v="79505"/>
          <ac:picMkLst>
            <pc:docMk/>
            <pc:sldMk cId="3169341715" sldId="9154"/>
            <ac:picMk id="96" creationId="{4C0E2D55-64F7-4A63-BC88-AEA11837282C}"/>
          </ac:picMkLst>
        </pc:picChg>
        <pc:picChg chg="add mod">
          <ac:chgData name="Wang, David" userId="5ba1598c-ec07-46f3-a0aa-a1cc2acb9765" providerId="ADAL" clId="{14C079B1-3763-444B-B216-374EF69EE7DF}" dt="2021-07-26T13:05:41.340" v="79506"/>
          <ac:picMkLst>
            <pc:docMk/>
            <pc:sldMk cId="3169341715" sldId="9154"/>
            <ac:picMk id="97" creationId="{6D02C7CD-D0BD-4585-8B00-F8FD0EE00E1D}"/>
          </ac:picMkLst>
        </pc:picChg>
        <pc:picChg chg="add mod ord">
          <ac:chgData name="Wang, David" userId="5ba1598c-ec07-46f3-a0aa-a1cc2acb9765" providerId="ADAL" clId="{14C079B1-3763-444B-B216-374EF69EE7DF}" dt="2021-07-26T13:05:41.340" v="79508"/>
          <ac:picMkLst>
            <pc:docMk/>
            <pc:sldMk cId="3169341715" sldId="9154"/>
            <ac:picMk id="98" creationId="{EAF8E202-B9E4-4777-A8EB-8BD31108A580}"/>
          </ac:picMkLst>
        </pc:picChg>
        <pc:picChg chg="add mod ord">
          <ac:chgData name="Wang, David" userId="5ba1598c-ec07-46f3-a0aa-a1cc2acb9765" providerId="ADAL" clId="{14C079B1-3763-444B-B216-374EF69EE7DF}" dt="2021-07-26T13:05:41.340" v="79510"/>
          <ac:picMkLst>
            <pc:docMk/>
            <pc:sldMk cId="3169341715" sldId="9154"/>
            <ac:picMk id="99" creationId="{4C0CA151-5400-4E58-A5F4-E044EFFAA587}"/>
          </ac:picMkLst>
        </pc:picChg>
        <pc:cxnChg chg="add mod ord">
          <ac:chgData name="Wang, David" userId="5ba1598c-ec07-46f3-a0aa-a1cc2acb9765" providerId="ADAL" clId="{14C079B1-3763-444B-B216-374EF69EE7DF}" dt="2021-07-26T13:05:41.155" v="79383"/>
          <ac:cxnSpMkLst>
            <pc:docMk/>
            <pc:sldMk cId="3169341715" sldId="9154"/>
            <ac:cxnSpMk id="24" creationId="{80452201-7237-4368-9C12-1C718F248397}"/>
          </ac:cxnSpMkLst>
        </pc:cxnChg>
        <pc:cxnChg chg="add mod ord">
          <ac:chgData name="Wang, David" userId="5ba1598c-ec07-46f3-a0aa-a1cc2acb9765" providerId="ADAL" clId="{14C079B1-3763-444B-B216-374EF69EE7DF}" dt="2021-07-26T13:05:41.139" v="79373"/>
          <ac:cxnSpMkLst>
            <pc:docMk/>
            <pc:sldMk cId="3169341715" sldId="9154"/>
            <ac:cxnSpMk id="25" creationId="{C20AD19C-90C1-474B-A0A9-32DB02E0E074}"/>
          </ac:cxnSpMkLst>
        </pc:cxnChg>
        <pc:cxnChg chg="add mod ord">
          <ac:chgData name="Wang, David" userId="5ba1598c-ec07-46f3-a0aa-a1cc2acb9765" providerId="ADAL" clId="{14C079B1-3763-444B-B216-374EF69EE7DF}" dt="2021-07-26T13:05:41.170" v="79395"/>
          <ac:cxnSpMkLst>
            <pc:docMk/>
            <pc:sldMk cId="3169341715" sldId="9154"/>
            <ac:cxnSpMk id="26" creationId="{3E07D79C-C768-4D31-A08A-E1C90D0183F6}"/>
          </ac:cxnSpMkLst>
        </pc:cxnChg>
        <pc:cxnChg chg="add mod ord">
          <ac:chgData name="Wang, David" userId="5ba1598c-ec07-46f3-a0aa-a1cc2acb9765" providerId="ADAL" clId="{14C079B1-3763-444B-B216-374EF69EE7DF}" dt="2021-07-26T13:05:41.170" v="79391"/>
          <ac:cxnSpMkLst>
            <pc:docMk/>
            <pc:sldMk cId="3169341715" sldId="9154"/>
            <ac:cxnSpMk id="27" creationId="{53F07609-9884-4F34-A273-A9BDBF1C6E23}"/>
          </ac:cxnSpMkLst>
        </pc:cxnChg>
        <pc:cxnChg chg="add mod ord">
          <ac:chgData name="Wang, David" userId="5ba1598c-ec07-46f3-a0aa-a1cc2acb9765" providerId="ADAL" clId="{14C079B1-3763-444B-B216-374EF69EE7DF}" dt="2021-07-26T13:05:41.155" v="79379"/>
          <ac:cxnSpMkLst>
            <pc:docMk/>
            <pc:sldMk cId="3169341715" sldId="9154"/>
            <ac:cxnSpMk id="28" creationId="{A393828D-F86E-43AD-8498-D95067966B99}"/>
          </ac:cxnSpMkLst>
        </pc:cxnChg>
        <pc:cxnChg chg="add mod ord">
          <ac:chgData name="Wang, David" userId="5ba1598c-ec07-46f3-a0aa-a1cc2acb9765" providerId="ADAL" clId="{14C079B1-3763-444B-B216-374EF69EE7DF}" dt="2021-07-26T13:05:41.155" v="79387"/>
          <ac:cxnSpMkLst>
            <pc:docMk/>
            <pc:sldMk cId="3169341715" sldId="9154"/>
            <ac:cxnSpMk id="29" creationId="{C8FCDD04-2263-4429-8331-2BDC1BD44C1D}"/>
          </ac:cxnSpMkLst>
        </pc:cxnChg>
        <pc:cxnChg chg="add mod ord">
          <ac:chgData name="Wang, David" userId="5ba1598c-ec07-46f3-a0aa-a1cc2acb9765" providerId="ADAL" clId="{14C079B1-3763-444B-B216-374EF69EE7DF}" dt="2021-07-26T13:05:41.155" v="79385"/>
          <ac:cxnSpMkLst>
            <pc:docMk/>
            <pc:sldMk cId="3169341715" sldId="9154"/>
            <ac:cxnSpMk id="30" creationId="{BD89C9D9-EE50-4D13-8B10-38A37497D7AB}"/>
          </ac:cxnSpMkLst>
        </pc:cxnChg>
        <pc:cxnChg chg="add mod ord">
          <ac:chgData name="Wang, David" userId="5ba1598c-ec07-46f3-a0aa-a1cc2acb9765" providerId="ADAL" clId="{14C079B1-3763-444B-B216-374EF69EE7DF}" dt="2021-07-26T13:05:41.155" v="79381"/>
          <ac:cxnSpMkLst>
            <pc:docMk/>
            <pc:sldMk cId="3169341715" sldId="9154"/>
            <ac:cxnSpMk id="31" creationId="{D4DC1538-9D32-4D12-8213-C7937AEAF560}"/>
          </ac:cxnSpMkLst>
        </pc:cxnChg>
        <pc:cxnChg chg="add mod ord">
          <ac:chgData name="Wang, David" userId="5ba1598c-ec07-46f3-a0aa-a1cc2acb9765" providerId="ADAL" clId="{14C079B1-3763-444B-B216-374EF69EE7DF}" dt="2021-07-26T13:05:41.170" v="79397"/>
          <ac:cxnSpMkLst>
            <pc:docMk/>
            <pc:sldMk cId="3169341715" sldId="9154"/>
            <ac:cxnSpMk id="32" creationId="{F0C5AFAE-AF5F-4CBF-822C-EB2F6821A993}"/>
          </ac:cxnSpMkLst>
        </pc:cxnChg>
        <pc:cxnChg chg="add mod ord">
          <ac:chgData name="Wang, David" userId="5ba1598c-ec07-46f3-a0aa-a1cc2acb9765" providerId="ADAL" clId="{14C079B1-3763-444B-B216-374EF69EE7DF}" dt="2021-07-26T13:05:41.170" v="79393"/>
          <ac:cxnSpMkLst>
            <pc:docMk/>
            <pc:sldMk cId="3169341715" sldId="9154"/>
            <ac:cxnSpMk id="33" creationId="{699E31B6-6533-47FE-A378-D5C61771ADBB}"/>
          </ac:cxnSpMkLst>
        </pc:cxnChg>
        <pc:cxnChg chg="add mod ord">
          <ac:chgData name="Wang, David" userId="5ba1598c-ec07-46f3-a0aa-a1cc2acb9765" providerId="ADAL" clId="{14C079B1-3763-444B-B216-374EF69EE7DF}" dt="2021-07-26T13:05:41.186" v="79399"/>
          <ac:cxnSpMkLst>
            <pc:docMk/>
            <pc:sldMk cId="3169341715" sldId="9154"/>
            <ac:cxnSpMk id="34" creationId="{8692F0F5-5DB2-452D-9FD7-0195ED2F1DD2}"/>
          </ac:cxnSpMkLst>
        </pc:cxnChg>
        <pc:cxnChg chg="add mod ord">
          <ac:chgData name="Wang, David" userId="5ba1598c-ec07-46f3-a0aa-a1cc2acb9765" providerId="ADAL" clId="{14C079B1-3763-444B-B216-374EF69EE7DF}" dt="2021-07-26T13:05:41.139" v="79375"/>
          <ac:cxnSpMkLst>
            <pc:docMk/>
            <pc:sldMk cId="3169341715" sldId="9154"/>
            <ac:cxnSpMk id="35" creationId="{F4F3D560-8186-4F08-809D-B93C5FAAF5F5}"/>
          </ac:cxnSpMkLst>
        </pc:cxnChg>
        <pc:cxnChg chg="add mod ord">
          <ac:chgData name="Wang, David" userId="5ba1598c-ec07-46f3-a0aa-a1cc2acb9765" providerId="ADAL" clId="{14C079B1-3763-444B-B216-374EF69EE7DF}" dt="2021-07-26T13:05:41.139" v="79371"/>
          <ac:cxnSpMkLst>
            <pc:docMk/>
            <pc:sldMk cId="3169341715" sldId="9154"/>
            <ac:cxnSpMk id="36" creationId="{B1C6F66D-48FC-4173-8DC1-E314B88ADE91}"/>
          </ac:cxnSpMkLst>
        </pc:cxnChg>
        <pc:cxnChg chg="add del mod ord">
          <ac:chgData name="Wang, David" userId="5ba1598c-ec07-46f3-a0aa-a1cc2acb9765" providerId="ADAL" clId="{14C079B1-3763-444B-B216-374EF69EE7DF}" dt="2021-07-26T13:05:24.447" v="78730"/>
          <ac:cxnSpMkLst>
            <pc:docMk/>
            <pc:sldMk cId="3169341715" sldId="9154"/>
            <ac:cxnSpMk id="37" creationId="{F97CDD85-76A3-4BD1-A3D6-E96833FE82AF}"/>
          </ac:cxnSpMkLst>
        </pc:cxnChg>
        <pc:cxnChg chg="add mod ord">
          <ac:chgData name="Wang, David" userId="5ba1598c-ec07-46f3-a0aa-a1cc2acb9765" providerId="ADAL" clId="{14C079B1-3763-444B-B216-374EF69EE7DF}" dt="2021-07-26T13:05:41.186" v="79403"/>
          <ac:cxnSpMkLst>
            <pc:docMk/>
            <pc:sldMk cId="3169341715" sldId="9154"/>
            <ac:cxnSpMk id="38" creationId="{DC1F9A9F-82D6-42BC-B844-B01369DA561D}"/>
          </ac:cxnSpMkLst>
        </pc:cxnChg>
        <pc:cxnChg chg="add mod ord">
          <ac:chgData name="Wang, David" userId="5ba1598c-ec07-46f3-a0aa-a1cc2acb9765" providerId="ADAL" clId="{14C079B1-3763-444B-B216-374EF69EE7DF}" dt="2021-07-26T13:05:41.186" v="79407"/>
          <ac:cxnSpMkLst>
            <pc:docMk/>
            <pc:sldMk cId="3169341715" sldId="9154"/>
            <ac:cxnSpMk id="39" creationId="{D7BD0AD3-76DB-483E-A31F-CD198713AF40}"/>
          </ac:cxnSpMkLst>
        </pc:cxnChg>
        <pc:cxnChg chg="add mod ord">
          <ac:chgData name="Wang, David" userId="5ba1598c-ec07-46f3-a0aa-a1cc2acb9765" providerId="ADAL" clId="{14C079B1-3763-444B-B216-374EF69EE7DF}" dt="2021-07-26T13:05:41.186" v="79405"/>
          <ac:cxnSpMkLst>
            <pc:docMk/>
            <pc:sldMk cId="3169341715" sldId="9154"/>
            <ac:cxnSpMk id="40" creationId="{6AF724F5-D7D1-4267-BC03-D7D07DEA292E}"/>
          </ac:cxnSpMkLst>
        </pc:cxnChg>
        <pc:cxnChg chg="add mod ord">
          <ac:chgData name="Wang, David" userId="5ba1598c-ec07-46f3-a0aa-a1cc2acb9765" providerId="ADAL" clId="{14C079B1-3763-444B-B216-374EF69EE7DF}" dt="2021-07-26T13:05:41.186" v="79401"/>
          <ac:cxnSpMkLst>
            <pc:docMk/>
            <pc:sldMk cId="3169341715" sldId="9154"/>
            <ac:cxnSpMk id="41" creationId="{3262C64E-76B3-47BD-A754-2F2FD44377DB}"/>
          </ac:cxnSpMkLst>
        </pc:cxnChg>
        <pc:cxnChg chg="add mod ord">
          <ac:chgData name="Wang, David" userId="5ba1598c-ec07-46f3-a0aa-a1cc2acb9765" providerId="ADAL" clId="{14C079B1-3763-444B-B216-374EF69EE7DF}" dt="2021-07-26T13:05:41.202" v="79409"/>
          <ac:cxnSpMkLst>
            <pc:docMk/>
            <pc:sldMk cId="3169341715" sldId="9154"/>
            <ac:cxnSpMk id="42" creationId="{7CD97D95-337F-4060-98C3-F849A643FE2B}"/>
          </ac:cxnSpMkLst>
        </pc:cxnChg>
        <pc:cxnChg chg="add mod ord">
          <ac:chgData name="Wang, David" userId="5ba1598c-ec07-46f3-a0aa-a1cc2acb9765" providerId="ADAL" clId="{14C079B1-3763-444B-B216-374EF69EE7DF}" dt="2021-07-26T13:05:41.202" v="79411"/>
          <ac:cxnSpMkLst>
            <pc:docMk/>
            <pc:sldMk cId="3169341715" sldId="9154"/>
            <ac:cxnSpMk id="44" creationId="{7AE5A476-9DFF-4038-A44F-107C6298D1E5}"/>
          </ac:cxnSpMkLst>
        </pc:cxnChg>
        <pc:cxnChg chg="add mod ord">
          <ac:chgData name="Wang, David" userId="5ba1598c-ec07-46f3-a0aa-a1cc2acb9765" providerId="ADAL" clId="{14C079B1-3763-444B-B216-374EF69EE7DF}" dt="2021-07-26T13:05:41.202" v="79413"/>
          <ac:cxnSpMkLst>
            <pc:docMk/>
            <pc:sldMk cId="3169341715" sldId="9154"/>
            <ac:cxnSpMk id="45" creationId="{17D84FB5-67A3-4062-AB61-4A2D5ED85572}"/>
          </ac:cxnSpMkLst>
        </pc:cxnChg>
        <pc:cxnChg chg="add mod ord">
          <ac:chgData name="Wang, David" userId="5ba1598c-ec07-46f3-a0aa-a1cc2acb9765" providerId="ADAL" clId="{14C079B1-3763-444B-B216-374EF69EE7DF}" dt="2021-07-26T13:05:41.170" v="79389"/>
          <ac:cxnSpMkLst>
            <pc:docMk/>
            <pc:sldMk cId="3169341715" sldId="9154"/>
            <ac:cxnSpMk id="89" creationId="{21BECAD3-9E48-4440-98D6-60875E341AF0}"/>
          </ac:cxnSpMkLst>
        </pc:cxnChg>
        <pc:cxnChg chg="add del mod ord">
          <ac:chgData name="Wang, David" userId="5ba1598c-ec07-46f3-a0aa-a1cc2acb9765" providerId="ADAL" clId="{14C079B1-3763-444B-B216-374EF69EE7DF}" dt="2021-07-26T13:05:42.226" v="79573"/>
          <ac:cxnSpMkLst>
            <pc:docMk/>
            <pc:sldMk cId="3169341715" sldId="9154"/>
            <ac:cxnSpMk id="156" creationId="{0D474FA4-6833-44ED-BD6C-34DEDFCEEBDF}"/>
          </ac:cxnSpMkLst>
        </pc:cxnChg>
        <pc:cxnChg chg="add mod ord">
          <ac:chgData name="Wang, David" userId="5ba1598c-ec07-46f3-a0aa-a1cc2acb9765" providerId="ADAL" clId="{14C079B1-3763-444B-B216-374EF69EE7DF}" dt="2021-07-26T13:05:42.242" v="79582" actId="16931"/>
          <ac:cxnSpMkLst>
            <pc:docMk/>
            <pc:sldMk cId="3169341715" sldId="9154"/>
            <ac:cxnSpMk id="157" creationId="{F6CC7677-6DF9-4DE6-BF20-21187A18D097}"/>
          </ac:cxnSpMkLst>
        </pc:cxnChg>
      </pc:sldChg>
      <pc:sldChg chg="addSp delSp modSp mod">
        <pc:chgData name="Wang, David" userId="5ba1598c-ec07-46f3-a0aa-a1cc2acb9765" providerId="ADAL" clId="{14C079B1-3763-444B-B216-374EF69EE7DF}" dt="2021-07-26T14:19:38.569" v="83920" actId="20577"/>
        <pc:sldMkLst>
          <pc:docMk/>
          <pc:sldMk cId="1308838414" sldId="9155"/>
        </pc:sldMkLst>
        <pc:spChg chg="add del mod modVis">
          <ac:chgData name="Wang, David" userId="5ba1598c-ec07-46f3-a0aa-a1cc2acb9765" providerId="ADAL" clId="{14C079B1-3763-444B-B216-374EF69EE7DF}" dt="2021-07-26T14:16:12.343" v="83664"/>
          <ac:spMkLst>
            <pc:docMk/>
            <pc:sldMk cId="1308838414" sldId="9155"/>
            <ac:spMk id="2" creationId="{D0D68F50-7731-4900-8BE6-1D976CD24D6B}"/>
          </ac:spMkLst>
        </pc:spChg>
        <pc:spChg chg="add del mod modVis">
          <ac:chgData name="Wang, David" userId="5ba1598c-ec07-46f3-a0aa-a1cc2acb9765" providerId="ADAL" clId="{14C079B1-3763-444B-B216-374EF69EE7DF}" dt="2021-07-26T14:16:15.626" v="83705"/>
          <ac:spMkLst>
            <pc:docMk/>
            <pc:sldMk cId="1308838414" sldId="9155"/>
            <ac:spMk id="4" creationId="{249151F7-CE1E-45B6-AF08-E63AF50974C4}"/>
          </ac:spMkLst>
        </pc:spChg>
        <pc:spChg chg="mod">
          <ac:chgData name="Wang, David" userId="5ba1598c-ec07-46f3-a0aa-a1cc2acb9765" providerId="ADAL" clId="{14C079B1-3763-444B-B216-374EF69EE7DF}" dt="2021-07-26T14:16:16.782" v="83709" actId="948"/>
          <ac:spMkLst>
            <pc:docMk/>
            <pc:sldMk cId="1308838414" sldId="9155"/>
            <ac:spMk id="5" creationId="{835409D4-AA07-437C-A1A7-C7743DBDCAA7}"/>
          </ac:spMkLst>
        </pc:spChg>
        <pc:spChg chg="add del mod modVis">
          <ac:chgData name="Wang, David" userId="5ba1598c-ec07-46f3-a0aa-a1cc2acb9765" providerId="ADAL" clId="{14C079B1-3763-444B-B216-374EF69EE7DF}" dt="2021-07-26T14:16:16.913" v="83746"/>
          <ac:spMkLst>
            <pc:docMk/>
            <pc:sldMk cId="1308838414" sldId="9155"/>
            <ac:spMk id="6" creationId="{CAABD836-C309-4F59-AD06-1F862F2C2917}"/>
          </ac:spMkLst>
        </pc:spChg>
        <pc:spChg chg="add mod">
          <ac:chgData name="Wang, David" userId="5ba1598c-ec07-46f3-a0aa-a1cc2acb9765" providerId="ADAL" clId="{14C079B1-3763-444B-B216-374EF69EE7DF}" dt="2021-07-26T14:19:38.569" v="83920" actId="20577"/>
          <ac:spMkLst>
            <pc:docMk/>
            <pc:sldMk cId="1308838414" sldId="9155"/>
            <ac:spMk id="9" creationId="{AF3FCF5C-3236-495B-AB6B-0ACAD6CBE1E3}"/>
          </ac:spMkLst>
        </pc:spChg>
        <pc:spChg chg="del">
          <ac:chgData name="Wang, David" userId="5ba1598c-ec07-46f3-a0aa-a1cc2acb9765" providerId="ADAL" clId="{14C079B1-3763-444B-B216-374EF69EE7DF}" dt="2021-07-26T14:16:08.013" v="83625" actId="478"/>
          <ac:spMkLst>
            <pc:docMk/>
            <pc:sldMk cId="1308838414" sldId="9155"/>
            <ac:spMk id="10" creationId="{544DBDCC-3E99-4C7E-B300-6BEAB604BC70}"/>
          </ac:spMkLst>
        </pc:spChg>
        <pc:graphicFrameChg chg="mod">
          <ac:chgData name="Wang, David" userId="5ba1598c-ec07-46f3-a0aa-a1cc2acb9765" providerId="ADAL" clId="{14C079B1-3763-444B-B216-374EF69EE7DF}" dt="2021-07-26T14:16:16.929" v="83748"/>
          <ac:graphicFrameMkLst>
            <pc:docMk/>
            <pc:sldMk cId="1308838414" sldId="9155"/>
            <ac:graphicFrameMk id="3" creationId="{93436375-7500-43F9-A78E-4CC8A9DA380E}"/>
          </ac:graphicFrameMkLst>
        </pc:graphicFrameChg>
        <pc:picChg chg="add mod">
          <ac:chgData name="Wang, David" userId="5ba1598c-ec07-46f3-a0aa-a1cc2acb9765" providerId="ADAL" clId="{14C079B1-3763-444B-B216-374EF69EE7DF}" dt="2021-07-26T14:17:10.224" v="83752" actId="14100"/>
          <ac:picMkLst>
            <pc:docMk/>
            <pc:sldMk cId="1308838414" sldId="9155"/>
            <ac:picMk id="7" creationId="{4CD5657C-A1BB-4CD2-8E1F-90C2603D9074}"/>
          </ac:picMkLst>
        </pc:picChg>
      </pc:sldChg>
      <pc:sldChg chg="delSp mod">
        <pc:chgData name="Wang, David" userId="5ba1598c-ec07-46f3-a0aa-a1cc2acb9765" providerId="ADAL" clId="{14C079B1-3763-444B-B216-374EF69EE7DF}" dt="2021-07-26T09:54:47.523" v="29339" actId="478"/>
        <pc:sldMkLst>
          <pc:docMk/>
          <pc:sldMk cId="3224819037" sldId="9156"/>
        </pc:sldMkLst>
        <pc:spChg chg="del">
          <ac:chgData name="Wang, David" userId="5ba1598c-ec07-46f3-a0aa-a1cc2acb9765" providerId="ADAL" clId="{14C079B1-3763-444B-B216-374EF69EE7DF}" dt="2021-07-26T09:54:47.523" v="29339" actId="478"/>
          <ac:spMkLst>
            <pc:docMk/>
            <pc:sldMk cId="3224819037" sldId="9156"/>
            <ac:spMk id="6" creationId="{2682C785-0F0B-4990-A3E3-15FAE96B25C8}"/>
          </ac:spMkLst>
        </pc:spChg>
      </pc:sldChg>
      <pc:sldChg chg="delSp mod">
        <pc:chgData name="Wang, David" userId="5ba1598c-ec07-46f3-a0aa-a1cc2acb9765" providerId="ADAL" clId="{14C079B1-3763-444B-B216-374EF69EE7DF}" dt="2021-07-26T09:55:03.925" v="29340" actId="478"/>
        <pc:sldMkLst>
          <pc:docMk/>
          <pc:sldMk cId="2705640366" sldId="9157"/>
        </pc:sldMkLst>
        <pc:spChg chg="del">
          <ac:chgData name="Wang, David" userId="5ba1598c-ec07-46f3-a0aa-a1cc2acb9765" providerId="ADAL" clId="{14C079B1-3763-444B-B216-374EF69EE7DF}" dt="2021-07-26T09:55:03.925" v="29340" actId="478"/>
          <ac:spMkLst>
            <pc:docMk/>
            <pc:sldMk cId="2705640366" sldId="9157"/>
            <ac:spMk id="9" creationId="{8D7FA278-C508-47BF-B5C5-27EF7964A4BB}"/>
          </ac:spMkLst>
        </pc:spChg>
      </pc:sldChg>
      <pc:sldChg chg="del">
        <pc:chgData name="Wang, David" userId="5ba1598c-ec07-46f3-a0aa-a1cc2acb9765" providerId="ADAL" clId="{14C079B1-3763-444B-B216-374EF69EE7DF}" dt="2021-07-26T07:22:02.984" v="11811" actId="47"/>
        <pc:sldMkLst>
          <pc:docMk/>
          <pc:sldMk cId="1627264344" sldId="9165"/>
        </pc:sldMkLst>
      </pc:sldChg>
      <pc:sldChg chg="del">
        <pc:chgData name="Wang, David" userId="5ba1598c-ec07-46f3-a0aa-a1cc2acb9765" providerId="ADAL" clId="{14C079B1-3763-444B-B216-374EF69EE7DF}" dt="2021-07-26T07:22:04.550" v="11812" actId="47"/>
        <pc:sldMkLst>
          <pc:docMk/>
          <pc:sldMk cId="1744076803" sldId="9166"/>
        </pc:sldMkLst>
      </pc:sldChg>
      <pc:sldChg chg="addSp delSp modSp add mod">
        <pc:chgData name="Wang, David" userId="5ba1598c-ec07-46f3-a0aa-a1cc2acb9765" providerId="ADAL" clId="{14C079B1-3763-444B-B216-374EF69EE7DF}" dt="2021-07-26T07:24:41.376" v="11830"/>
        <pc:sldMkLst>
          <pc:docMk/>
          <pc:sldMk cId="563985041" sldId="9170"/>
        </pc:sldMkLst>
        <pc:spChg chg="add del mod">
          <ac:chgData name="Wang, David" userId="5ba1598c-ec07-46f3-a0aa-a1cc2acb9765" providerId="ADAL" clId="{14C079B1-3763-444B-B216-374EF69EE7DF}" dt="2021-07-26T07:24:07.455" v="11822" actId="478"/>
          <ac:spMkLst>
            <pc:docMk/>
            <pc:sldMk cId="563985041" sldId="9170"/>
            <ac:spMk id="3" creationId="{59ED575C-B836-4B28-80A1-4CE4F70C36D7}"/>
          </ac:spMkLst>
        </pc:spChg>
        <pc:spChg chg="del">
          <ac:chgData name="Wang, David" userId="5ba1598c-ec07-46f3-a0aa-a1cc2acb9765" providerId="ADAL" clId="{14C079B1-3763-444B-B216-374EF69EE7DF}" dt="2021-07-26T07:24:01.102" v="11818" actId="478"/>
          <ac:spMkLst>
            <pc:docMk/>
            <pc:sldMk cId="563985041" sldId="9170"/>
            <ac:spMk id="6" creationId="{2682C785-0F0B-4990-A3E3-15FAE96B25C8}"/>
          </ac:spMkLst>
        </pc:spChg>
        <pc:spChg chg="add del mod">
          <ac:chgData name="Wang, David" userId="5ba1598c-ec07-46f3-a0aa-a1cc2acb9765" providerId="ADAL" clId="{14C079B1-3763-444B-B216-374EF69EE7DF}" dt="2021-07-26T07:24:24.014" v="11826"/>
          <ac:spMkLst>
            <pc:docMk/>
            <pc:sldMk cId="563985041" sldId="9170"/>
            <ac:spMk id="7" creationId="{512F0ABB-E956-42B2-A834-0EA4CD624D09}"/>
          </ac:spMkLst>
        </pc:spChg>
        <pc:spChg chg="add del mod">
          <ac:chgData name="Wang, David" userId="5ba1598c-ec07-46f3-a0aa-a1cc2acb9765" providerId="ADAL" clId="{14C079B1-3763-444B-B216-374EF69EE7DF}" dt="2021-07-26T07:24:24.014" v="11826"/>
          <ac:spMkLst>
            <pc:docMk/>
            <pc:sldMk cId="563985041" sldId="9170"/>
            <ac:spMk id="10" creationId="{AEFBAFA0-2441-4FDE-992E-B876BA2B94F9}"/>
          </ac:spMkLst>
        </pc:spChg>
        <pc:spChg chg="add del mod">
          <ac:chgData name="Wang, David" userId="5ba1598c-ec07-46f3-a0aa-a1cc2acb9765" providerId="ADAL" clId="{14C079B1-3763-444B-B216-374EF69EE7DF}" dt="2021-07-26T07:24:24.014" v="11826"/>
          <ac:spMkLst>
            <pc:docMk/>
            <pc:sldMk cId="563985041" sldId="9170"/>
            <ac:spMk id="11" creationId="{B29B5C3C-3F8A-4BB8-A83B-5D9FA69A5221}"/>
          </ac:spMkLst>
        </pc:spChg>
        <pc:spChg chg="add del mod">
          <ac:chgData name="Wang, David" userId="5ba1598c-ec07-46f3-a0aa-a1cc2acb9765" providerId="ADAL" clId="{14C079B1-3763-444B-B216-374EF69EE7DF}" dt="2021-07-26T07:24:24.014" v="11826"/>
          <ac:spMkLst>
            <pc:docMk/>
            <pc:sldMk cId="563985041" sldId="9170"/>
            <ac:spMk id="12" creationId="{C9A78149-553C-44C2-ADBE-FBAAA7A9849D}"/>
          </ac:spMkLst>
        </pc:spChg>
        <pc:spChg chg="add del mod">
          <ac:chgData name="Wang, David" userId="5ba1598c-ec07-46f3-a0aa-a1cc2acb9765" providerId="ADAL" clId="{14C079B1-3763-444B-B216-374EF69EE7DF}" dt="2021-07-26T07:24:24.014" v="11826"/>
          <ac:spMkLst>
            <pc:docMk/>
            <pc:sldMk cId="563985041" sldId="9170"/>
            <ac:spMk id="13" creationId="{5B07004C-C063-406E-B23D-0782AB96AB12}"/>
          </ac:spMkLst>
        </pc:spChg>
        <pc:spChg chg="add del mod">
          <ac:chgData name="Wang, David" userId="5ba1598c-ec07-46f3-a0aa-a1cc2acb9765" providerId="ADAL" clId="{14C079B1-3763-444B-B216-374EF69EE7DF}" dt="2021-07-26T07:24:24.014" v="11826"/>
          <ac:spMkLst>
            <pc:docMk/>
            <pc:sldMk cId="563985041" sldId="9170"/>
            <ac:spMk id="14" creationId="{CC429D8C-CD7E-44B1-84A7-6772C655E799}"/>
          </ac:spMkLst>
        </pc:spChg>
        <pc:spChg chg="add mod">
          <ac:chgData name="Wang, David" userId="5ba1598c-ec07-46f3-a0aa-a1cc2acb9765" providerId="ADAL" clId="{14C079B1-3763-444B-B216-374EF69EE7DF}" dt="2021-07-26T07:24:41.376" v="11830"/>
          <ac:spMkLst>
            <pc:docMk/>
            <pc:sldMk cId="563985041" sldId="9170"/>
            <ac:spMk id="15" creationId="{06784D31-F8A0-441D-94C0-611C5D56D86D}"/>
          </ac:spMkLst>
        </pc:spChg>
        <pc:spChg chg="add mod">
          <ac:chgData name="Wang, David" userId="5ba1598c-ec07-46f3-a0aa-a1cc2acb9765" providerId="ADAL" clId="{14C079B1-3763-444B-B216-374EF69EE7DF}" dt="2021-07-26T07:24:41.376" v="11830"/>
          <ac:spMkLst>
            <pc:docMk/>
            <pc:sldMk cId="563985041" sldId="9170"/>
            <ac:spMk id="18" creationId="{ECD99131-12AA-4617-81A4-2B18E32B457E}"/>
          </ac:spMkLst>
        </pc:spChg>
        <pc:spChg chg="add mod">
          <ac:chgData name="Wang, David" userId="5ba1598c-ec07-46f3-a0aa-a1cc2acb9765" providerId="ADAL" clId="{14C079B1-3763-444B-B216-374EF69EE7DF}" dt="2021-07-26T07:24:41.376" v="11830"/>
          <ac:spMkLst>
            <pc:docMk/>
            <pc:sldMk cId="563985041" sldId="9170"/>
            <ac:spMk id="19" creationId="{5E60D9A7-5959-4A40-9B2E-27E4B9FCCA88}"/>
          </ac:spMkLst>
        </pc:spChg>
        <pc:spChg chg="add mod">
          <ac:chgData name="Wang, David" userId="5ba1598c-ec07-46f3-a0aa-a1cc2acb9765" providerId="ADAL" clId="{14C079B1-3763-444B-B216-374EF69EE7DF}" dt="2021-07-26T07:24:41.376" v="11830"/>
          <ac:spMkLst>
            <pc:docMk/>
            <pc:sldMk cId="563985041" sldId="9170"/>
            <ac:spMk id="20" creationId="{D791D5D0-A0E4-44D4-AC68-B74E358D60F6}"/>
          </ac:spMkLst>
        </pc:spChg>
        <pc:spChg chg="add mod">
          <ac:chgData name="Wang, David" userId="5ba1598c-ec07-46f3-a0aa-a1cc2acb9765" providerId="ADAL" clId="{14C079B1-3763-444B-B216-374EF69EE7DF}" dt="2021-07-26T07:24:41.376" v="11830"/>
          <ac:spMkLst>
            <pc:docMk/>
            <pc:sldMk cId="563985041" sldId="9170"/>
            <ac:spMk id="21" creationId="{D2300787-334E-4D3E-B82C-00B287A2A113}"/>
          </ac:spMkLst>
        </pc:spChg>
        <pc:spChg chg="add mod">
          <ac:chgData name="Wang, David" userId="5ba1598c-ec07-46f3-a0aa-a1cc2acb9765" providerId="ADAL" clId="{14C079B1-3763-444B-B216-374EF69EE7DF}" dt="2021-07-26T07:24:41.376" v="11830"/>
          <ac:spMkLst>
            <pc:docMk/>
            <pc:sldMk cId="563985041" sldId="9170"/>
            <ac:spMk id="22" creationId="{33C72500-66A1-4E70-9C3D-1B767CA72750}"/>
          </ac:spMkLst>
        </pc:spChg>
        <pc:spChg chg="del">
          <ac:chgData name="Wang, David" userId="5ba1598c-ec07-46f3-a0aa-a1cc2acb9765" providerId="ADAL" clId="{14C079B1-3763-444B-B216-374EF69EE7DF}" dt="2021-07-26T07:24:04.339" v="11819" actId="478"/>
          <ac:spMkLst>
            <pc:docMk/>
            <pc:sldMk cId="563985041" sldId="9170"/>
            <ac:spMk id="79" creationId="{AB06C1EB-172F-4D44-8F66-212D75F4F074}"/>
          </ac:spMkLst>
        </pc:spChg>
        <pc:graphicFrameChg chg="add del mod">
          <ac:chgData name="Wang, David" userId="5ba1598c-ec07-46f3-a0aa-a1cc2acb9765" providerId="ADAL" clId="{14C079B1-3763-444B-B216-374EF69EE7DF}" dt="2021-07-26T07:24:24.014" v="11826"/>
          <ac:graphicFrameMkLst>
            <pc:docMk/>
            <pc:sldMk cId="563985041" sldId="9170"/>
            <ac:graphicFrameMk id="8" creationId="{D60643DC-F3EC-4207-BF7E-EE8875C25492}"/>
          </ac:graphicFrameMkLst>
        </pc:graphicFrameChg>
        <pc:graphicFrameChg chg="add del mod">
          <ac:chgData name="Wang, David" userId="5ba1598c-ec07-46f3-a0aa-a1cc2acb9765" providerId="ADAL" clId="{14C079B1-3763-444B-B216-374EF69EE7DF}" dt="2021-07-26T07:24:24.014" v="11826"/>
          <ac:graphicFrameMkLst>
            <pc:docMk/>
            <pc:sldMk cId="563985041" sldId="9170"/>
            <ac:graphicFrameMk id="9" creationId="{2CF97764-3E4E-41F9-ACA7-4BF403652815}"/>
          </ac:graphicFrameMkLst>
        </pc:graphicFrameChg>
        <pc:graphicFrameChg chg="add mod">
          <ac:chgData name="Wang, David" userId="5ba1598c-ec07-46f3-a0aa-a1cc2acb9765" providerId="ADAL" clId="{14C079B1-3763-444B-B216-374EF69EE7DF}" dt="2021-07-26T07:24:41.376" v="11830"/>
          <ac:graphicFrameMkLst>
            <pc:docMk/>
            <pc:sldMk cId="563985041" sldId="9170"/>
            <ac:graphicFrameMk id="16" creationId="{29F2C53E-C784-47C1-996C-AD1F1342E380}"/>
          </ac:graphicFrameMkLst>
        </pc:graphicFrameChg>
        <pc:graphicFrameChg chg="add mod">
          <ac:chgData name="Wang, David" userId="5ba1598c-ec07-46f3-a0aa-a1cc2acb9765" providerId="ADAL" clId="{14C079B1-3763-444B-B216-374EF69EE7DF}" dt="2021-07-26T07:24:41.376" v="11830"/>
          <ac:graphicFrameMkLst>
            <pc:docMk/>
            <pc:sldMk cId="563985041" sldId="9170"/>
            <ac:graphicFrameMk id="17" creationId="{2B2D8BB8-C76D-4BD5-AC16-A2B5BCBF3AB0}"/>
          </ac:graphicFrameMkLst>
        </pc:graphicFrameChg>
        <pc:graphicFrameChg chg="mod">
          <ac:chgData name="Wang, David" userId="5ba1598c-ec07-46f3-a0aa-a1cc2acb9765" providerId="ADAL" clId="{14C079B1-3763-444B-B216-374EF69EE7DF}" dt="2021-07-26T07:24:24.538" v="11828"/>
          <ac:graphicFrameMkLst>
            <pc:docMk/>
            <pc:sldMk cId="563985041" sldId="9170"/>
            <ac:graphicFrameMk id="25" creationId="{B4272582-F9BE-4551-B91E-4987C5505A19}"/>
          </ac:graphicFrameMkLst>
        </pc:graphicFrameChg>
      </pc:sldChg>
      <pc:sldChg chg="addSp modSp add">
        <pc:chgData name="Wang, David" userId="5ba1598c-ec07-46f3-a0aa-a1cc2acb9765" providerId="ADAL" clId="{14C079B1-3763-444B-B216-374EF69EE7DF}" dt="2021-07-26T07:24:53.862" v="11832"/>
        <pc:sldMkLst>
          <pc:docMk/>
          <pc:sldMk cId="1283170546" sldId="9171"/>
        </pc:sldMkLst>
        <pc:spChg chg="add mod">
          <ac:chgData name="Wang, David" userId="5ba1598c-ec07-46f3-a0aa-a1cc2acb9765" providerId="ADAL" clId="{14C079B1-3763-444B-B216-374EF69EE7DF}" dt="2021-07-26T07:24:53.862" v="11832"/>
          <ac:spMkLst>
            <pc:docMk/>
            <pc:sldMk cId="1283170546" sldId="9171"/>
            <ac:spMk id="3" creationId="{6FCE168B-519F-4E40-91A0-F22CB1925360}"/>
          </ac:spMkLst>
        </pc:spChg>
        <pc:spChg chg="add mod">
          <ac:chgData name="Wang, David" userId="5ba1598c-ec07-46f3-a0aa-a1cc2acb9765" providerId="ADAL" clId="{14C079B1-3763-444B-B216-374EF69EE7DF}" dt="2021-07-26T07:24:53.862" v="11832"/>
          <ac:spMkLst>
            <pc:docMk/>
            <pc:sldMk cId="1283170546" sldId="9171"/>
            <ac:spMk id="5" creationId="{2D9AB059-36DE-4AAD-9ECE-5EC628602C58}"/>
          </ac:spMkLst>
        </pc:spChg>
        <pc:spChg chg="add mod">
          <ac:chgData name="Wang, David" userId="5ba1598c-ec07-46f3-a0aa-a1cc2acb9765" providerId="ADAL" clId="{14C079B1-3763-444B-B216-374EF69EE7DF}" dt="2021-07-26T07:24:53.862" v="11832"/>
          <ac:spMkLst>
            <pc:docMk/>
            <pc:sldMk cId="1283170546" sldId="9171"/>
            <ac:spMk id="6" creationId="{498FCE4E-DCF3-4DBC-B2F5-77BC500B5D27}"/>
          </ac:spMkLst>
        </pc:spChg>
        <pc:spChg chg="add mod">
          <ac:chgData name="Wang, David" userId="5ba1598c-ec07-46f3-a0aa-a1cc2acb9765" providerId="ADAL" clId="{14C079B1-3763-444B-B216-374EF69EE7DF}" dt="2021-07-26T07:24:53.862" v="11832"/>
          <ac:spMkLst>
            <pc:docMk/>
            <pc:sldMk cId="1283170546" sldId="9171"/>
            <ac:spMk id="7" creationId="{B0AE2062-188A-4C1D-8CBF-682EF274DA7E}"/>
          </ac:spMkLst>
        </pc:spChg>
        <pc:spChg chg="add mod">
          <ac:chgData name="Wang, David" userId="5ba1598c-ec07-46f3-a0aa-a1cc2acb9765" providerId="ADAL" clId="{14C079B1-3763-444B-B216-374EF69EE7DF}" dt="2021-07-26T07:24:53.862" v="11832"/>
          <ac:spMkLst>
            <pc:docMk/>
            <pc:sldMk cId="1283170546" sldId="9171"/>
            <ac:spMk id="8" creationId="{0AB33A21-6FBD-4031-AA88-B570F91D615A}"/>
          </ac:spMkLst>
        </pc:spChg>
        <pc:spChg chg="add mod">
          <ac:chgData name="Wang, David" userId="5ba1598c-ec07-46f3-a0aa-a1cc2acb9765" providerId="ADAL" clId="{14C079B1-3763-444B-B216-374EF69EE7DF}" dt="2021-07-26T07:24:53.862" v="11832"/>
          <ac:spMkLst>
            <pc:docMk/>
            <pc:sldMk cId="1283170546" sldId="9171"/>
            <ac:spMk id="10" creationId="{FEB2E6B3-A47E-4A94-801B-28D81A35A64A}"/>
          </ac:spMkLst>
        </pc:spChg>
        <pc:spChg chg="add mod">
          <ac:chgData name="Wang, David" userId="5ba1598c-ec07-46f3-a0aa-a1cc2acb9765" providerId="ADAL" clId="{14C079B1-3763-444B-B216-374EF69EE7DF}" dt="2021-07-26T07:24:53.862" v="11832"/>
          <ac:spMkLst>
            <pc:docMk/>
            <pc:sldMk cId="1283170546" sldId="9171"/>
            <ac:spMk id="11" creationId="{082535ED-9428-4F5E-9A32-6166DCABD00E}"/>
          </ac:spMkLst>
        </pc:spChg>
        <pc:graphicFrameChg chg="add mod">
          <ac:chgData name="Wang, David" userId="5ba1598c-ec07-46f3-a0aa-a1cc2acb9765" providerId="ADAL" clId="{14C079B1-3763-444B-B216-374EF69EE7DF}" dt="2021-07-26T07:24:53.862" v="11832"/>
          <ac:graphicFrameMkLst>
            <pc:docMk/>
            <pc:sldMk cId="1283170546" sldId="9171"/>
            <ac:graphicFrameMk id="4" creationId="{3C1F9B62-0BB4-478F-9B2F-2294BFDADBB4}"/>
          </ac:graphicFrameMkLst>
        </pc:graphicFrameChg>
        <pc:graphicFrameChg chg="add mod">
          <ac:chgData name="Wang, David" userId="5ba1598c-ec07-46f3-a0aa-a1cc2acb9765" providerId="ADAL" clId="{14C079B1-3763-444B-B216-374EF69EE7DF}" dt="2021-07-26T07:24:53.862" v="11832"/>
          <ac:graphicFrameMkLst>
            <pc:docMk/>
            <pc:sldMk cId="1283170546" sldId="9171"/>
            <ac:graphicFrameMk id="9" creationId="{6C8C7694-1B03-48C4-B98D-73BD5B985803}"/>
          </ac:graphicFrameMkLst>
        </pc:graphicFrameChg>
      </pc:sldChg>
      <pc:sldChg chg="addSp delSp modSp add mod">
        <pc:chgData name="Wang, David" userId="5ba1598c-ec07-46f3-a0aa-a1cc2acb9765" providerId="ADAL" clId="{14C079B1-3763-444B-B216-374EF69EE7DF}" dt="2021-07-26T12:56:32.509" v="72946"/>
        <pc:sldMkLst>
          <pc:docMk/>
          <pc:sldMk cId="2108684427" sldId="9172"/>
        </pc:sldMkLst>
        <pc:spChg chg="add del mod ord modVis">
          <ac:chgData name="Wang, David" userId="5ba1598c-ec07-46f3-a0aa-a1cc2acb9765" providerId="ADAL" clId="{14C079B1-3763-444B-B216-374EF69EE7DF}" dt="2021-07-26T08:49:52.122" v="23758"/>
          <ac:spMkLst>
            <pc:docMk/>
            <pc:sldMk cId="2108684427" sldId="9172"/>
            <ac:spMk id="2" creationId="{F0E92B83-9936-4D7F-9D4B-F9128C1CE573}"/>
          </ac:spMkLst>
        </pc:spChg>
        <pc:spChg chg="add del mod modVis">
          <ac:chgData name="Wang, David" userId="5ba1598c-ec07-46f3-a0aa-a1cc2acb9765" providerId="ADAL" clId="{14C079B1-3763-444B-B216-374EF69EE7DF}" dt="2021-07-26T08:51:28.084" v="24226"/>
          <ac:spMkLst>
            <pc:docMk/>
            <pc:sldMk cId="2108684427" sldId="9172"/>
            <ac:spMk id="3" creationId="{F906E217-57C8-47E4-A5A4-277638EC1958}"/>
          </ac:spMkLst>
        </pc:spChg>
        <pc:spChg chg="add del mod modVis">
          <ac:chgData name="Wang, David" userId="5ba1598c-ec07-46f3-a0aa-a1cc2acb9765" providerId="ADAL" clId="{14C079B1-3763-444B-B216-374EF69EE7DF}" dt="2021-07-26T08:53:46.079" v="24787"/>
          <ac:spMkLst>
            <pc:docMk/>
            <pc:sldMk cId="2108684427" sldId="9172"/>
            <ac:spMk id="4" creationId="{B7AE0A2A-B2C3-4A56-B15F-16B3F4503A48}"/>
          </ac:spMkLst>
        </pc:spChg>
        <pc:spChg chg="add del mod modVis">
          <ac:chgData name="Wang, David" userId="5ba1598c-ec07-46f3-a0aa-a1cc2acb9765" providerId="ADAL" clId="{14C079B1-3763-444B-B216-374EF69EE7DF}" dt="2021-07-26T08:53:56.321" v="25093"/>
          <ac:spMkLst>
            <pc:docMk/>
            <pc:sldMk cId="2108684427" sldId="9172"/>
            <ac:spMk id="5" creationId="{AEA8EBB5-9334-453C-BFA8-866445EB063F}"/>
          </ac:spMkLst>
        </pc:spChg>
        <pc:spChg chg="del mod ord">
          <ac:chgData name="Wang, David" userId="5ba1598c-ec07-46f3-a0aa-a1cc2acb9765" providerId="ADAL" clId="{14C079B1-3763-444B-B216-374EF69EE7DF}" dt="2021-07-26T08:55:40.159" v="27116" actId="478"/>
          <ac:spMkLst>
            <pc:docMk/>
            <pc:sldMk cId="2108684427" sldId="9172"/>
            <ac:spMk id="6" creationId="{2682C785-0F0B-4990-A3E3-15FAE96B25C8}"/>
          </ac:spMkLst>
        </pc:spChg>
        <pc:spChg chg="add del mod modVis">
          <ac:chgData name="Wang, David" userId="5ba1598c-ec07-46f3-a0aa-a1cc2acb9765" providerId="ADAL" clId="{14C079B1-3763-444B-B216-374EF69EE7DF}" dt="2021-07-26T08:54:15.985" v="25630"/>
          <ac:spMkLst>
            <pc:docMk/>
            <pc:sldMk cId="2108684427" sldId="9172"/>
            <ac:spMk id="7" creationId="{B1AC4066-4265-48EE-A5CE-520F5FD7213A}"/>
          </ac:spMkLst>
        </pc:spChg>
        <pc:spChg chg="add del mod modVis">
          <ac:chgData name="Wang, David" userId="5ba1598c-ec07-46f3-a0aa-a1cc2acb9765" providerId="ADAL" clId="{14C079B1-3763-444B-B216-374EF69EE7DF}" dt="2021-07-26T08:54:36.575" v="26301"/>
          <ac:spMkLst>
            <pc:docMk/>
            <pc:sldMk cId="2108684427" sldId="9172"/>
            <ac:spMk id="8" creationId="{CF99EF13-A3D0-47F2-BE37-C83A7A469422}"/>
          </ac:spMkLst>
        </pc:spChg>
        <pc:spChg chg="add del mod ord modVis">
          <ac:chgData name="Wang, David" userId="5ba1598c-ec07-46f3-a0aa-a1cc2acb9765" providerId="ADAL" clId="{14C079B1-3763-444B-B216-374EF69EE7DF}" dt="2021-07-26T08:55:02.169" v="26792"/>
          <ac:spMkLst>
            <pc:docMk/>
            <pc:sldMk cId="2108684427" sldId="9172"/>
            <ac:spMk id="9" creationId="{54A091A0-1BC2-412B-BF99-53C922A83717}"/>
          </ac:spMkLst>
        </pc:spChg>
        <pc:spChg chg="add mod ord">
          <ac:chgData name="Wang, David" userId="5ba1598c-ec07-46f3-a0aa-a1cc2acb9765" providerId="ADAL" clId="{14C079B1-3763-444B-B216-374EF69EE7DF}" dt="2021-07-26T12:25:05.767" v="56418"/>
          <ac:spMkLst>
            <pc:docMk/>
            <pc:sldMk cId="2108684427" sldId="9172"/>
            <ac:spMk id="10" creationId="{A310D566-ED4C-438F-84B7-94FA6F677340}"/>
          </ac:spMkLst>
        </pc:spChg>
        <pc:spChg chg="add del mod modVis">
          <ac:chgData name="Wang, David" userId="5ba1598c-ec07-46f3-a0aa-a1cc2acb9765" providerId="ADAL" clId="{14C079B1-3763-444B-B216-374EF69EE7DF}" dt="2021-07-26T08:55:36.401" v="27113"/>
          <ac:spMkLst>
            <pc:docMk/>
            <pc:sldMk cId="2108684427" sldId="9172"/>
            <ac:spMk id="13" creationId="{12BD3594-0859-4665-95FA-FFFC8E1EAC6E}"/>
          </ac:spMkLst>
        </pc:spChg>
        <pc:spChg chg="add del mod modVis">
          <ac:chgData name="Wang, David" userId="5ba1598c-ec07-46f3-a0aa-a1cc2acb9765" providerId="ADAL" clId="{14C079B1-3763-444B-B216-374EF69EE7DF}" dt="2021-07-26T08:55:44.354" v="27155"/>
          <ac:spMkLst>
            <pc:docMk/>
            <pc:sldMk cId="2108684427" sldId="9172"/>
            <ac:spMk id="14" creationId="{3F072C62-07B9-4C72-AB57-591571221252}"/>
          </ac:spMkLst>
        </pc:spChg>
        <pc:spChg chg="add del mod modVis">
          <ac:chgData name="Wang, David" userId="5ba1598c-ec07-46f3-a0aa-a1cc2acb9765" providerId="ADAL" clId="{14C079B1-3763-444B-B216-374EF69EE7DF}" dt="2021-07-26T08:55:49.390" v="27196"/>
          <ac:spMkLst>
            <pc:docMk/>
            <pc:sldMk cId="2108684427" sldId="9172"/>
            <ac:spMk id="15" creationId="{9A0DD8D4-19C7-4F3A-BBF8-3124073FCBEB}"/>
          </ac:spMkLst>
        </pc:spChg>
        <pc:spChg chg="add del mod modVis">
          <ac:chgData name="Wang, David" userId="5ba1598c-ec07-46f3-a0aa-a1cc2acb9765" providerId="ADAL" clId="{14C079B1-3763-444B-B216-374EF69EE7DF}" dt="2021-07-26T08:56:38.938" v="27785"/>
          <ac:spMkLst>
            <pc:docMk/>
            <pc:sldMk cId="2108684427" sldId="9172"/>
            <ac:spMk id="16" creationId="{D1C22B24-890D-499D-A753-99E363EDF733}"/>
          </ac:spMkLst>
        </pc:spChg>
        <pc:spChg chg="add del mod modVis">
          <ac:chgData name="Wang, David" userId="5ba1598c-ec07-46f3-a0aa-a1cc2acb9765" providerId="ADAL" clId="{14C079B1-3763-444B-B216-374EF69EE7DF}" dt="2021-07-26T08:56:44.811" v="27879"/>
          <ac:spMkLst>
            <pc:docMk/>
            <pc:sldMk cId="2108684427" sldId="9172"/>
            <ac:spMk id="17" creationId="{CD96021D-03E2-48DA-922C-370CF137A910}"/>
          </ac:spMkLst>
        </pc:spChg>
        <pc:spChg chg="add del mod modVis">
          <ac:chgData name="Wang, David" userId="5ba1598c-ec07-46f3-a0aa-a1cc2acb9765" providerId="ADAL" clId="{14C079B1-3763-444B-B216-374EF69EE7DF}" dt="2021-07-26T08:56:52.520" v="27973"/>
          <ac:spMkLst>
            <pc:docMk/>
            <pc:sldMk cId="2108684427" sldId="9172"/>
            <ac:spMk id="18" creationId="{F427DA15-44F6-4794-986B-DF5C8A9FB376}"/>
          </ac:spMkLst>
        </pc:spChg>
        <pc:spChg chg="add del mod ord modVis">
          <ac:chgData name="Wang, David" userId="5ba1598c-ec07-46f3-a0aa-a1cc2acb9765" providerId="ADAL" clId="{14C079B1-3763-444B-B216-374EF69EE7DF}" dt="2021-07-26T09:36:52.964" v="28196"/>
          <ac:spMkLst>
            <pc:docMk/>
            <pc:sldMk cId="2108684427" sldId="9172"/>
            <ac:spMk id="19" creationId="{24C9F231-3F1B-4081-AE4B-092B2412A260}"/>
          </ac:spMkLst>
        </pc:spChg>
        <pc:spChg chg="add del mod modVis">
          <ac:chgData name="Wang, David" userId="5ba1598c-ec07-46f3-a0aa-a1cc2acb9765" providerId="ADAL" clId="{14C079B1-3763-444B-B216-374EF69EE7DF}" dt="2021-07-26T09:39:07.323" v="29284"/>
          <ac:spMkLst>
            <pc:docMk/>
            <pc:sldMk cId="2108684427" sldId="9172"/>
            <ac:spMk id="20" creationId="{23539219-F2FF-48E9-94B7-BB0B10CE8E42}"/>
          </ac:spMkLst>
        </pc:spChg>
        <pc:spChg chg="add del mod modVis">
          <ac:chgData name="Wang, David" userId="5ba1598c-ec07-46f3-a0aa-a1cc2acb9765" providerId="ADAL" clId="{14C079B1-3763-444B-B216-374EF69EE7DF}" dt="2021-07-26T11:22:56.889" v="29972"/>
          <ac:spMkLst>
            <pc:docMk/>
            <pc:sldMk cId="2108684427" sldId="9172"/>
            <ac:spMk id="21" creationId="{AF774808-A5C7-4FD5-8436-05621B2601C5}"/>
          </ac:spMkLst>
        </pc:spChg>
        <pc:spChg chg="add del mod modVis">
          <ac:chgData name="Wang, David" userId="5ba1598c-ec07-46f3-a0aa-a1cc2acb9765" providerId="ADAL" clId="{14C079B1-3763-444B-B216-374EF69EE7DF}" dt="2021-07-26T11:59:05.546" v="45939"/>
          <ac:spMkLst>
            <pc:docMk/>
            <pc:sldMk cId="2108684427" sldId="9172"/>
            <ac:spMk id="22" creationId="{AA931D9B-8A11-49EC-ABE1-69E4E26C0396}"/>
          </ac:spMkLst>
        </pc:spChg>
        <pc:spChg chg="add del mod modVis">
          <ac:chgData name="Wang, David" userId="5ba1598c-ec07-46f3-a0aa-a1cc2acb9765" providerId="ADAL" clId="{14C079B1-3763-444B-B216-374EF69EE7DF}" dt="2021-07-26T11:59:07.381" v="46022"/>
          <ac:spMkLst>
            <pc:docMk/>
            <pc:sldMk cId="2108684427" sldId="9172"/>
            <ac:spMk id="23" creationId="{C93EF144-1B09-418A-9B8D-FAB299C46991}"/>
          </ac:spMkLst>
        </pc:spChg>
        <pc:spChg chg="add del mod modVis">
          <ac:chgData name="Wang, David" userId="5ba1598c-ec07-46f3-a0aa-a1cc2acb9765" providerId="ADAL" clId="{14C079B1-3763-444B-B216-374EF69EE7DF}" dt="2021-07-26T12:23:04.349" v="53616"/>
          <ac:spMkLst>
            <pc:docMk/>
            <pc:sldMk cId="2108684427" sldId="9172"/>
            <ac:spMk id="27" creationId="{2980107F-22DE-4221-90B6-D355E31FF1D7}"/>
          </ac:spMkLst>
        </pc:spChg>
        <pc:spChg chg="add del mod modVis">
          <ac:chgData name="Wang, David" userId="5ba1598c-ec07-46f3-a0aa-a1cc2acb9765" providerId="ADAL" clId="{14C079B1-3763-444B-B216-374EF69EE7DF}" dt="2021-07-26T12:23:05.593" v="53699"/>
          <ac:spMkLst>
            <pc:docMk/>
            <pc:sldMk cId="2108684427" sldId="9172"/>
            <ac:spMk id="28" creationId="{B2472CC1-E140-4BCC-8E5F-5E5E72E16F82}"/>
          </ac:spMkLst>
        </pc:spChg>
        <pc:spChg chg="add del mod modVis">
          <ac:chgData name="Wang, David" userId="5ba1598c-ec07-46f3-a0aa-a1cc2acb9765" providerId="ADAL" clId="{14C079B1-3763-444B-B216-374EF69EE7DF}" dt="2021-07-26T12:23:10.248" v="53787"/>
          <ac:spMkLst>
            <pc:docMk/>
            <pc:sldMk cId="2108684427" sldId="9172"/>
            <ac:spMk id="29" creationId="{57F75D21-3B3E-4879-813D-1990F37916A1}"/>
          </ac:spMkLst>
        </pc:spChg>
        <pc:spChg chg="add del mod modVis">
          <ac:chgData name="Wang, David" userId="5ba1598c-ec07-46f3-a0aa-a1cc2acb9765" providerId="ADAL" clId="{14C079B1-3763-444B-B216-374EF69EE7DF}" dt="2021-07-26T12:23:11.119" v="53870"/>
          <ac:spMkLst>
            <pc:docMk/>
            <pc:sldMk cId="2108684427" sldId="9172"/>
            <ac:spMk id="30" creationId="{3A283037-99AE-49BD-9FC0-9616281883F4}"/>
          </ac:spMkLst>
        </pc:spChg>
        <pc:spChg chg="add del mod modVis">
          <ac:chgData name="Wang, David" userId="5ba1598c-ec07-46f3-a0aa-a1cc2acb9765" providerId="ADAL" clId="{14C079B1-3763-444B-B216-374EF69EE7DF}" dt="2021-07-26T12:23:20.357" v="53956"/>
          <ac:spMkLst>
            <pc:docMk/>
            <pc:sldMk cId="2108684427" sldId="9172"/>
            <ac:spMk id="31" creationId="{F52E01FE-689A-447F-AF50-0488FDDD1D8E}"/>
          </ac:spMkLst>
        </pc:spChg>
        <pc:spChg chg="add mod ord">
          <ac:chgData name="Wang, David" userId="5ba1598c-ec07-46f3-a0aa-a1cc2acb9765" providerId="ADAL" clId="{14C079B1-3763-444B-B216-374EF69EE7DF}" dt="2021-07-26T12:56:32.379" v="72927" actId="948"/>
          <ac:spMkLst>
            <pc:docMk/>
            <pc:sldMk cId="2108684427" sldId="9172"/>
            <ac:spMk id="74" creationId="{3D62F378-4065-4013-91BE-B4DFB4388F89}"/>
          </ac:spMkLst>
        </pc:spChg>
        <pc:spChg chg="add mod ord">
          <ac:chgData name="Wang, David" userId="5ba1598c-ec07-46f3-a0aa-a1cc2acb9765" providerId="ADAL" clId="{14C079B1-3763-444B-B216-374EF69EE7DF}" dt="2021-07-26T12:56:32.379" v="72926" actId="948"/>
          <ac:spMkLst>
            <pc:docMk/>
            <pc:sldMk cId="2108684427" sldId="9172"/>
            <ac:spMk id="77" creationId="{D6E2C73F-F3BE-4458-A85D-194F1D9C95BF}"/>
          </ac:spMkLst>
        </pc:spChg>
        <pc:spChg chg="mod ord">
          <ac:chgData name="Wang, David" userId="5ba1598c-ec07-46f3-a0aa-a1cc2acb9765" providerId="ADAL" clId="{14C079B1-3763-444B-B216-374EF69EE7DF}" dt="2021-07-26T12:56:32.178" v="72864" actId="948"/>
          <ac:spMkLst>
            <pc:docMk/>
            <pc:sldMk cId="2108684427" sldId="9172"/>
            <ac:spMk id="79" creationId="{AB06C1EB-172F-4D44-8F66-212D75F4F074}"/>
          </ac:spMkLst>
        </pc:spChg>
        <pc:spChg chg="add mod ord">
          <ac:chgData name="Wang, David" userId="5ba1598c-ec07-46f3-a0aa-a1cc2acb9765" providerId="ADAL" clId="{14C079B1-3763-444B-B216-374EF69EE7DF}" dt="2021-07-26T12:56:32.395" v="72928" actId="948"/>
          <ac:spMkLst>
            <pc:docMk/>
            <pc:sldMk cId="2108684427" sldId="9172"/>
            <ac:spMk id="80" creationId="{754A0973-E8A8-4120-9EFD-D288C30F5BE5}"/>
          </ac:spMkLst>
        </pc:spChg>
        <pc:spChg chg="add mod ord">
          <ac:chgData name="Wang, David" userId="5ba1598c-ec07-46f3-a0aa-a1cc2acb9765" providerId="ADAL" clId="{14C079B1-3763-444B-B216-374EF69EE7DF}" dt="2021-07-26T12:56:32.395" v="72929" actId="948"/>
          <ac:spMkLst>
            <pc:docMk/>
            <pc:sldMk cId="2108684427" sldId="9172"/>
            <ac:spMk id="81" creationId="{9079AC1B-7A88-4F13-B4DE-5E259262EEED}"/>
          </ac:spMkLst>
        </pc:spChg>
        <pc:spChg chg="add mod">
          <ac:chgData name="Wang, David" userId="5ba1598c-ec07-46f3-a0aa-a1cc2acb9765" providerId="ADAL" clId="{14C079B1-3763-444B-B216-374EF69EE7DF}" dt="2021-07-26T12:56:32.193" v="72871"/>
          <ac:spMkLst>
            <pc:docMk/>
            <pc:sldMk cId="2108684427" sldId="9172"/>
            <ac:spMk id="92" creationId="{4FE7F889-0FAC-48F8-9841-2D5E11094D8D}"/>
          </ac:spMkLst>
        </pc:spChg>
        <pc:spChg chg="add mod ord">
          <ac:chgData name="Wang, David" userId="5ba1598c-ec07-46f3-a0aa-a1cc2acb9765" providerId="ADAL" clId="{14C079B1-3763-444B-B216-374EF69EE7DF}" dt="2021-07-26T12:56:32.262" v="72888" actId="948"/>
          <ac:spMkLst>
            <pc:docMk/>
            <pc:sldMk cId="2108684427" sldId="9172"/>
            <ac:spMk id="108" creationId="{C7BEEDCC-AF2C-4BFA-8545-7B4BBC8819B1}"/>
          </ac:spMkLst>
        </pc:spChg>
        <pc:spChg chg="mod">
          <ac:chgData name="Wang, David" userId="5ba1598c-ec07-46f3-a0aa-a1cc2acb9765" providerId="ADAL" clId="{14C079B1-3763-444B-B216-374EF69EE7DF}" dt="2021-07-26T12:56:32.463" v="72931"/>
          <ac:spMkLst>
            <pc:docMk/>
            <pc:sldMk cId="2108684427" sldId="9172"/>
            <ac:spMk id="206" creationId="{9E1367D4-28B6-4119-842C-9A085E9D6270}"/>
          </ac:spMkLst>
        </pc:spChg>
        <pc:spChg chg="mod">
          <ac:chgData name="Wang, David" userId="5ba1598c-ec07-46f3-a0aa-a1cc2acb9765" providerId="ADAL" clId="{14C079B1-3763-444B-B216-374EF69EE7DF}" dt="2021-07-26T12:56:32.463" v="72932"/>
          <ac:spMkLst>
            <pc:docMk/>
            <pc:sldMk cId="2108684427" sldId="9172"/>
            <ac:spMk id="207" creationId="{0B4A72E4-8F49-4599-9D39-7CB5CDC8900A}"/>
          </ac:spMkLst>
        </pc:spChg>
        <pc:spChg chg="mod">
          <ac:chgData name="Wang, David" userId="5ba1598c-ec07-46f3-a0aa-a1cc2acb9765" providerId="ADAL" clId="{14C079B1-3763-444B-B216-374EF69EE7DF}" dt="2021-07-26T12:56:32.463" v="72933"/>
          <ac:spMkLst>
            <pc:docMk/>
            <pc:sldMk cId="2108684427" sldId="9172"/>
            <ac:spMk id="208" creationId="{69228C3E-55D0-4A11-B86B-0DBD73E7B5E9}"/>
          </ac:spMkLst>
        </pc:spChg>
        <pc:spChg chg="mod">
          <ac:chgData name="Wang, David" userId="5ba1598c-ec07-46f3-a0aa-a1cc2acb9765" providerId="ADAL" clId="{14C079B1-3763-444B-B216-374EF69EE7DF}" dt="2021-07-26T12:56:32.478" v="72934"/>
          <ac:spMkLst>
            <pc:docMk/>
            <pc:sldMk cId="2108684427" sldId="9172"/>
            <ac:spMk id="209" creationId="{E3871573-23FE-4E7A-8E9C-F04056EE70BE}"/>
          </ac:spMkLst>
        </pc:spChg>
        <pc:spChg chg="mod">
          <ac:chgData name="Wang, David" userId="5ba1598c-ec07-46f3-a0aa-a1cc2acb9765" providerId="ADAL" clId="{14C079B1-3763-444B-B216-374EF69EE7DF}" dt="2021-07-26T12:56:32.478" v="72935"/>
          <ac:spMkLst>
            <pc:docMk/>
            <pc:sldMk cId="2108684427" sldId="9172"/>
            <ac:spMk id="210" creationId="{DF6B9752-BBD2-42E1-9E30-103B894DCA1C}"/>
          </ac:spMkLst>
        </pc:spChg>
        <pc:spChg chg="mod">
          <ac:chgData name="Wang, David" userId="5ba1598c-ec07-46f3-a0aa-a1cc2acb9765" providerId="ADAL" clId="{14C079B1-3763-444B-B216-374EF69EE7DF}" dt="2021-07-26T12:56:32.478" v="72936"/>
          <ac:spMkLst>
            <pc:docMk/>
            <pc:sldMk cId="2108684427" sldId="9172"/>
            <ac:spMk id="211" creationId="{36B33435-9F9D-47D9-851D-DF89BC995A99}"/>
          </ac:spMkLst>
        </pc:spChg>
        <pc:spChg chg="mod">
          <ac:chgData name="Wang, David" userId="5ba1598c-ec07-46f3-a0aa-a1cc2acb9765" providerId="ADAL" clId="{14C079B1-3763-444B-B216-374EF69EE7DF}" dt="2021-07-26T12:56:32.478" v="72937"/>
          <ac:spMkLst>
            <pc:docMk/>
            <pc:sldMk cId="2108684427" sldId="9172"/>
            <ac:spMk id="212" creationId="{0135892B-C866-4BA8-995B-9D73F33EBB47}"/>
          </ac:spMkLst>
        </pc:spChg>
        <pc:spChg chg="mod">
          <ac:chgData name="Wang, David" userId="5ba1598c-ec07-46f3-a0aa-a1cc2acb9765" providerId="ADAL" clId="{14C079B1-3763-444B-B216-374EF69EE7DF}" dt="2021-07-26T12:56:32.478" v="72938"/>
          <ac:spMkLst>
            <pc:docMk/>
            <pc:sldMk cId="2108684427" sldId="9172"/>
            <ac:spMk id="213" creationId="{84B25C79-60D1-46EB-A2F5-CA570DD7FCC8}"/>
          </ac:spMkLst>
        </pc:spChg>
        <pc:spChg chg="mod">
          <ac:chgData name="Wang, David" userId="5ba1598c-ec07-46f3-a0aa-a1cc2acb9765" providerId="ADAL" clId="{14C079B1-3763-444B-B216-374EF69EE7DF}" dt="2021-07-26T12:56:32.478" v="72939"/>
          <ac:spMkLst>
            <pc:docMk/>
            <pc:sldMk cId="2108684427" sldId="9172"/>
            <ac:spMk id="214" creationId="{AC69695F-24DB-4A1B-9BC8-F85B72DFCC54}"/>
          </ac:spMkLst>
        </pc:spChg>
        <pc:spChg chg="mod">
          <ac:chgData name="Wang, David" userId="5ba1598c-ec07-46f3-a0aa-a1cc2acb9765" providerId="ADAL" clId="{14C079B1-3763-444B-B216-374EF69EE7DF}" dt="2021-07-26T12:56:32.478" v="72940"/>
          <ac:spMkLst>
            <pc:docMk/>
            <pc:sldMk cId="2108684427" sldId="9172"/>
            <ac:spMk id="215" creationId="{608C7124-1C20-4C32-A396-771AB3C35204}"/>
          </ac:spMkLst>
        </pc:spChg>
        <pc:spChg chg="mod">
          <ac:chgData name="Wang, David" userId="5ba1598c-ec07-46f3-a0aa-a1cc2acb9765" providerId="ADAL" clId="{14C079B1-3763-444B-B216-374EF69EE7DF}" dt="2021-07-26T12:56:32.478" v="72941"/>
          <ac:spMkLst>
            <pc:docMk/>
            <pc:sldMk cId="2108684427" sldId="9172"/>
            <ac:spMk id="216" creationId="{F7B0C8E3-7019-46E8-92F3-25C11A4748DF}"/>
          </ac:spMkLst>
        </pc:spChg>
        <pc:spChg chg="mod">
          <ac:chgData name="Wang, David" userId="5ba1598c-ec07-46f3-a0aa-a1cc2acb9765" providerId="ADAL" clId="{14C079B1-3763-444B-B216-374EF69EE7DF}" dt="2021-07-26T12:56:32.478" v="72942"/>
          <ac:spMkLst>
            <pc:docMk/>
            <pc:sldMk cId="2108684427" sldId="9172"/>
            <ac:spMk id="217" creationId="{651A3D62-51BC-4E84-B66A-7C2CA2A436B1}"/>
          </ac:spMkLst>
        </pc:spChg>
        <pc:spChg chg="add del mod modVis">
          <ac:chgData name="Wang, David" userId="5ba1598c-ec07-46f3-a0aa-a1cc2acb9765" providerId="ADAL" clId="{14C079B1-3763-444B-B216-374EF69EE7DF}" dt="2021-07-26T12:23:21.209" v="54040"/>
          <ac:spMkLst>
            <pc:docMk/>
            <pc:sldMk cId="2108684427" sldId="9172"/>
            <ac:spMk id="236" creationId="{9CE474EE-2E3C-4AEB-B45C-27A9A09C1FB6}"/>
          </ac:spMkLst>
        </pc:spChg>
        <pc:spChg chg="mod ord">
          <ac:chgData name="Wang, David" userId="5ba1598c-ec07-46f3-a0aa-a1cc2acb9765" providerId="ADAL" clId="{14C079B1-3763-444B-B216-374EF69EE7DF}" dt="2021-07-26T12:56:32.224" v="72878" actId="948"/>
          <ac:spMkLst>
            <pc:docMk/>
            <pc:sldMk cId="2108684427" sldId="9172"/>
            <ac:spMk id="237" creationId="{00D75407-36A9-41C0-A349-F2B11B106B67}"/>
          </ac:spMkLst>
        </pc:spChg>
        <pc:spChg chg="add del mod modVis">
          <ac:chgData name="Wang, David" userId="5ba1598c-ec07-46f3-a0aa-a1cc2acb9765" providerId="ADAL" clId="{14C079B1-3763-444B-B216-374EF69EE7DF}" dt="2021-07-26T12:23:23.157" v="54124"/>
          <ac:spMkLst>
            <pc:docMk/>
            <pc:sldMk cId="2108684427" sldId="9172"/>
            <ac:spMk id="238" creationId="{C582D485-AC4B-4D28-9A04-049CA8F4012B}"/>
          </ac:spMkLst>
        </pc:spChg>
        <pc:spChg chg="mod ord">
          <ac:chgData name="Wang, David" userId="5ba1598c-ec07-46f3-a0aa-a1cc2acb9765" providerId="ADAL" clId="{14C079B1-3763-444B-B216-374EF69EE7DF}" dt="2021-07-26T12:56:32.224" v="72877" actId="948"/>
          <ac:spMkLst>
            <pc:docMk/>
            <pc:sldMk cId="2108684427" sldId="9172"/>
            <ac:spMk id="239" creationId="{868E4D61-135A-4841-BC3C-7F319FA3B516}"/>
          </ac:spMkLst>
        </pc:spChg>
        <pc:spChg chg="mod ord">
          <ac:chgData name="Wang, David" userId="5ba1598c-ec07-46f3-a0aa-a1cc2acb9765" providerId="ADAL" clId="{14C079B1-3763-444B-B216-374EF69EE7DF}" dt="2021-07-26T12:56:32.209" v="72876" actId="948"/>
          <ac:spMkLst>
            <pc:docMk/>
            <pc:sldMk cId="2108684427" sldId="9172"/>
            <ac:spMk id="240" creationId="{5E4913E7-E79E-4644-9964-A8CA09C93DC3}"/>
          </ac:spMkLst>
        </pc:spChg>
        <pc:spChg chg="add del mod modVis">
          <ac:chgData name="Wang, David" userId="5ba1598c-ec07-46f3-a0aa-a1cc2acb9765" providerId="ADAL" clId="{14C079B1-3763-444B-B216-374EF69EE7DF}" dt="2021-07-26T12:23:27.491" v="54210"/>
          <ac:spMkLst>
            <pc:docMk/>
            <pc:sldMk cId="2108684427" sldId="9172"/>
            <ac:spMk id="241" creationId="{CBA48FA7-1F4F-4F25-8A69-1DC46958950C}"/>
          </ac:spMkLst>
        </pc:spChg>
        <pc:spChg chg="mod ord">
          <ac:chgData name="Wang, David" userId="5ba1598c-ec07-46f3-a0aa-a1cc2acb9765" providerId="ADAL" clId="{14C079B1-3763-444B-B216-374EF69EE7DF}" dt="2021-07-26T12:56:32.209" v="72875" actId="948"/>
          <ac:spMkLst>
            <pc:docMk/>
            <pc:sldMk cId="2108684427" sldId="9172"/>
            <ac:spMk id="242" creationId="{2E011939-34C4-4D97-BD08-E510277F10B4}"/>
          </ac:spMkLst>
        </pc:spChg>
        <pc:spChg chg="add del mod ord modVis">
          <ac:chgData name="Wang, David" userId="5ba1598c-ec07-46f3-a0aa-a1cc2acb9765" providerId="ADAL" clId="{14C079B1-3763-444B-B216-374EF69EE7DF}" dt="2021-07-26T12:24:07.539" v="54962"/>
          <ac:spMkLst>
            <pc:docMk/>
            <pc:sldMk cId="2108684427" sldId="9172"/>
            <ac:spMk id="243" creationId="{5C79A550-B90B-4CDB-A977-0782DC8089B0}"/>
          </ac:spMkLst>
        </pc:spChg>
        <pc:spChg chg="mod ord">
          <ac:chgData name="Wang, David" userId="5ba1598c-ec07-46f3-a0aa-a1cc2acb9765" providerId="ADAL" clId="{14C079B1-3763-444B-B216-374EF69EE7DF}" dt="2021-07-26T12:56:32.209" v="72874" actId="948"/>
          <ac:spMkLst>
            <pc:docMk/>
            <pc:sldMk cId="2108684427" sldId="9172"/>
            <ac:spMk id="244" creationId="{9B4EFBFE-314B-4A11-A41D-673BC0B879B7}"/>
          </ac:spMkLst>
        </pc:spChg>
        <pc:spChg chg="add mod ord">
          <ac:chgData name="Wang, David" userId="5ba1598c-ec07-46f3-a0aa-a1cc2acb9765" providerId="ADAL" clId="{14C079B1-3763-444B-B216-374EF69EE7DF}" dt="2021-07-26T12:25:05.752" v="56384"/>
          <ac:spMkLst>
            <pc:docMk/>
            <pc:sldMk cId="2108684427" sldId="9172"/>
            <ac:spMk id="245" creationId="{DCFA9D20-A6AB-41AA-8FA4-885177493C75}"/>
          </ac:spMkLst>
        </pc:spChg>
        <pc:spChg chg="mod ord">
          <ac:chgData name="Wang, David" userId="5ba1598c-ec07-46f3-a0aa-a1cc2acb9765" providerId="ADAL" clId="{14C079B1-3763-444B-B216-374EF69EE7DF}" dt="2021-07-26T12:25:05.767" v="56426"/>
          <ac:spMkLst>
            <pc:docMk/>
            <pc:sldMk cId="2108684427" sldId="9172"/>
            <ac:spMk id="246" creationId="{BC42280F-3913-456E-8700-2169439964A1}"/>
          </ac:spMkLst>
        </pc:spChg>
        <pc:spChg chg="add del mod modVis">
          <ac:chgData name="Wang, David" userId="5ba1598c-ec07-46f3-a0aa-a1cc2acb9765" providerId="ADAL" clId="{14C079B1-3763-444B-B216-374EF69EE7DF}" dt="2021-07-26T12:24:14.512" v="55064"/>
          <ac:spMkLst>
            <pc:docMk/>
            <pc:sldMk cId="2108684427" sldId="9172"/>
            <ac:spMk id="247" creationId="{3DD4673F-76F2-44A8-ACF3-0260FE0C1F87}"/>
          </ac:spMkLst>
        </pc:spChg>
        <pc:spChg chg="mod ord">
          <ac:chgData name="Wang, David" userId="5ba1598c-ec07-46f3-a0aa-a1cc2acb9765" providerId="ADAL" clId="{14C079B1-3763-444B-B216-374EF69EE7DF}" dt="2021-07-26T12:24:07.523" v="54921"/>
          <ac:spMkLst>
            <pc:docMk/>
            <pc:sldMk cId="2108684427" sldId="9172"/>
            <ac:spMk id="248" creationId="{D0312597-BF10-4F80-AEC1-CC193E5207E0}"/>
          </ac:spMkLst>
        </pc:spChg>
        <pc:spChg chg="add del mod modVis">
          <ac:chgData name="Wang, David" userId="5ba1598c-ec07-46f3-a0aa-a1cc2acb9765" providerId="ADAL" clId="{14C079B1-3763-444B-B216-374EF69EE7DF}" dt="2021-07-26T12:24:17.482" v="55166"/>
          <ac:spMkLst>
            <pc:docMk/>
            <pc:sldMk cId="2108684427" sldId="9172"/>
            <ac:spMk id="249" creationId="{285C6119-1D67-4861-916A-0D6462B6EBEC}"/>
          </ac:spMkLst>
        </pc:spChg>
        <pc:spChg chg="add del mod modVis">
          <ac:chgData name="Wang, David" userId="5ba1598c-ec07-46f3-a0aa-a1cc2acb9765" providerId="ADAL" clId="{14C079B1-3763-444B-B216-374EF69EE7DF}" dt="2021-07-26T12:56:32.509" v="72944"/>
          <ac:spMkLst>
            <pc:docMk/>
            <pc:sldMk cId="2108684427" sldId="9172"/>
            <ac:spMk id="250" creationId="{095AC147-8274-4907-89BA-A20C6B18A5C8}"/>
          </ac:spMkLst>
        </pc:spChg>
        <pc:spChg chg="mod ord">
          <ac:chgData name="Wang, David" userId="5ba1598c-ec07-46f3-a0aa-a1cc2acb9765" providerId="ADAL" clId="{14C079B1-3763-444B-B216-374EF69EE7DF}" dt="2021-07-26T12:24:07.523" v="54925"/>
          <ac:spMkLst>
            <pc:docMk/>
            <pc:sldMk cId="2108684427" sldId="9172"/>
            <ac:spMk id="251" creationId="{70C8A3EB-4CAB-487F-8D02-740C646D03A4}"/>
          </ac:spMkLst>
        </pc:spChg>
        <pc:spChg chg="del mod ord">
          <ac:chgData name="Wang, David" userId="5ba1598c-ec07-46f3-a0aa-a1cc2acb9765" providerId="ADAL" clId="{14C079B1-3763-444B-B216-374EF69EE7DF}" dt="2021-07-26T08:52:19.756" v="24277"/>
          <ac:spMkLst>
            <pc:docMk/>
            <pc:sldMk cId="2108684427" sldId="9172"/>
            <ac:spMk id="253" creationId="{86F3029E-F9DC-4A4D-8A31-740162A28228}"/>
          </ac:spMkLst>
        </pc:spChg>
        <pc:spChg chg="mod ord">
          <ac:chgData name="Wang, David" userId="5ba1598c-ec07-46f3-a0aa-a1cc2acb9765" providerId="ADAL" clId="{14C079B1-3763-444B-B216-374EF69EE7DF}" dt="2021-07-26T12:25:05.730" v="56360"/>
          <ac:spMkLst>
            <pc:docMk/>
            <pc:sldMk cId="2108684427" sldId="9172"/>
            <ac:spMk id="254" creationId="{AC2CF6EA-48AD-4D21-A910-9367A16ABFB7}"/>
          </ac:spMkLst>
        </pc:spChg>
        <pc:spChg chg="mod ord">
          <ac:chgData name="Wang, David" userId="5ba1598c-ec07-46f3-a0aa-a1cc2acb9765" providerId="ADAL" clId="{14C079B1-3763-444B-B216-374EF69EE7DF}" dt="2021-07-26T12:56:32.247" v="72885" actId="948"/>
          <ac:spMkLst>
            <pc:docMk/>
            <pc:sldMk cId="2108684427" sldId="9172"/>
            <ac:spMk id="255" creationId="{F2C3088E-C818-46F1-A597-568CECF3BC90}"/>
          </ac:spMkLst>
        </pc:spChg>
        <pc:spChg chg="mod ord">
          <ac:chgData name="Wang, David" userId="5ba1598c-ec07-46f3-a0aa-a1cc2acb9765" providerId="ADAL" clId="{14C079B1-3763-444B-B216-374EF69EE7DF}" dt="2021-07-26T12:56:32.395" v="72930" actId="948"/>
          <ac:spMkLst>
            <pc:docMk/>
            <pc:sldMk cId="2108684427" sldId="9172"/>
            <ac:spMk id="256" creationId="{FCBAEB1D-B232-46D3-B345-8F7A25B0209B}"/>
          </ac:spMkLst>
        </pc:spChg>
        <pc:spChg chg="mod ord">
          <ac:chgData name="Wang, David" userId="5ba1598c-ec07-46f3-a0aa-a1cc2acb9765" providerId="ADAL" clId="{14C079B1-3763-444B-B216-374EF69EE7DF}" dt="2021-07-26T12:56:32.209" v="72873" actId="948"/>
          <ac:spMkLst>
            <pc:docMk/>
            <pc:sldMk cId="2108684427" sldId="9172"/>
            <ac:spMk id="257" creationId="{CB7DE4B1-3F67-4AB6-B205-C6D69AF1D2FC}"/>
          </ac:spMkLst>
        </pc:spChg>
        <pc:spChg chg="mod">
          <ac:chgData name="Wang, David" userId="5ba1598c-ec07-46f3-a0aa-a1cc2acb9765" providerId="ADAL" clId="{14C079B1-3763-444B-B216-374EF69EE7DF}" dt="2021-07-26T12:56:32.193" v="72867"/>
          <ac:spMkLst>
            <pc:docMk/>
            <pc:sldMk cId="2108684427" sldId="9172"/>
            <ac:spMk id="258" creationId="{5F66CDFE-97ED-4C69-A33D-F36F2A5B9ABD}"/>
          </ac:spMkLst>
        </pc:spChg>
        <pc:spChg chg="mod">
          <ac:chgData name="Wang, David" userId="5ba1598c-ec07-46f3-a0aa-a1cc2acb9765" providerId="ADAL" clId="{14C079B1-3763-444B-B216-374EF69EE7DF}" dt="2021-07-26T12:56:32.178" v="72866"/>
          <ac:spMkLst>
            <pc:docMk/>
            <pc:sldMk cId="2108684427" sldId="9172"/>
            <ac:spMk id="259" creationId="{33518107-F264-42AA-8754-34A8FDD5CABD}"/>
          </ac:spMkLst>
        </pc:spChg>
        <pc:spChg chg="mod">
          <ac:chgData name="Wang, David" userId="5ba1598c-ec07-46f3-a0aa-a1cc2acb9765" providerId="ADAL" clId="{14C079B1-3763-444B-B216-374EF69EE7DF}" dt="2021-07-26T12:56:32.193" v="72868"/>
          <ac:spMkLst>
            <pc:docMk/>
            <pc:sldMk cId="2108684427" sldId="9172"/>
            <ac:spMk id="263" creationId="{9FCF0DD1-0DDB-4AE7-87F5-4D48CCEE7AD1}"/>
          </ac:spMkLst>
        </pc:spChg>
        <pc:spChg chg="mod">
          <ac:chgData name="Wang, David" userId="5ba1598c-ec07-46f3-a0aa-a1cc2acb9765" providerId="ADAL" clId="{14C079B1-3763-444B-B216-374EF69EE7DF}" dt="2021-07-26T12:56:32.178" v="72865"/>
          <ac:spMkLst>
            <pc:docMk/>
            <pc:sldMk cId="2108684427" sldId="9172"/>
            <ac:spMk id="265" creationId="{AAA72468-39D3-4934-8A8F-79EBBA417D58}"/>
          </ac:spMkLst>
        </pc:spChg>
        <pc:spChg chg="del mod ord">
          <ac:chgData name="Wang, David" userId="5ba1598c-ec07-46f3-a0aa-a1cc2acb9765" providerId="ADAL" clId="{14C079B1-3763-444B-B216-374EF69EE7DF}" dt="2021-07-26T08:52:19.756" v="24279"/>
          <ac:spMkLst>
            <pc:docMk/>
            <pc:sldMk cId="2108684427" sldId="9172"/>
            <ac:spMk id="266" creationId="{80BFE026-1DF7-4FD9-BDE9-02BEB8BC6BC6}"/>
          </ac:spMkLst>
        </pc:spChg>
        <pc:spChg chg="mod ord">
          <ac:chgData name="Wang, David" userId="5ba1598c-ec07-46f3-a0aa-a1cc2acb9765" providerId="ADAL" clId="{14C079B1-3763-444B-B216-374EF69EE7DF}" dt="2021-07-26T12:56:32.247" v="72884" actId="948"/>
          <ac:spMkLst>
            <pc:docMk/>
            <pc:sldMk cId="2108684427" sldId="9172"/>
            <ac:spMk id="267" creationId="{9EC3B7E3-76FF-4333-8D24-FBA60F55654C}"/>
          </ac:spMkLst>
        </pc:spChg>
        <pc:spChg chg="mod">
          <ac:chgData name="Wang, David" userId="5ba1598c-ec07-46f3-a0aa-a1cc2acb9765" providerId="ADAL" clId="{14C079B1-3763-444B-B216-374EF69EE7DF}" dt="2021-07-26T12:56:32.193" v="72872"/>
          <ac:spMkLst>
            <pc:docMk/>
            <pc:sldMk cId="2108684427" sldId="9172"/>
            <ac:spMk id="268" creationId="{FBC089D4-F0B3-4F8E-89C1-08D531098B84}"/>
          </ac:spMkLst>
        </pc:spChg>
        <pc:spChg chg="mod">
          <ac:chgData name="Wang, David" userId="5ba1598c-ec07-46f3-a0aa-a1cc2acb9765" providerId="ADAL" clId="{14C079B1-3763-444B-B216-374EF69EE7DF}" dt="2021-07-26T12:56:32.193" v="72869"/>
          <ac:spMkLst>
            <pc:docMk/>
            <pc:sldMk cId="2108684427" sldId="9172"/>
            <ac:spMk id="339" creationId="{D9F7A9E1-3F9C-4A03-AAA3-747684AF22E3}"/>
          </ac:spMkLst>
        </pc:spChg>
        <pc:spChg chg="mod">
          <ac:chgData name="Wang, David" userId="5ba1598c-ec07-46f3-a0aa-a1cc2acb9765" providerId="ADAL" clId="{14C079B1-3763-444B-B216-374EF69EE7DF}" dt="2021-07-26T12:56:32.193" v="72870"/>
          <ac:spMkLst>
            <pc:docMk/>
            <pc:sldMk cId="2108684427" sldId="9172"/>
            <ac:spMk id="342" creationId="{0F467244-CA7A-4A24-877B-396FA84F1C88}"/>
          </ac:spMkLst>
        </pc:spChg>
        <pc:spChg chg="mod ord">
          <ac:chgData name="Wang, David" userId="5ba1598c-ec07-46f3-a0aa-a1cc2acb9765" providerId="ADAL" clId="{14C079B1-3763-444B-B216-374EF69EE7DF}" dt="2021-07-26T12:56:32.231" v="72879" actId="948"/>
          <ac:spMkLst>
            <pc:docMk/>
            <pc:sldMk cId="2108684427" sldId="9172"/>
            <ac:spMk id="358" creationId="{9952AE17-D2F9-4865-9822-EF61B3E9BDC3}"/>
          </ac:spMkLst>
        </pc:spChg>
        <pc:spChg chg="mod ord">
          <ac:chgData name="Wang, David" userId="5ba1598c-ec07-46f3-a0aa-a1cc2acb9765" providerId="ADAL" clId="{14C079B1-3763-444B-B216-374EF69EE7DF}" dt="2021-07-26T12:56:32.231" v="72880" actId="948"/>
          <ac:spMkLst>
            <pc:docMk/>
            <pc:sldMk cId="2108684427" sldId="9172"/>
            <ac:spMk id="366" creationId="{304C8112-65EE-4A21-A6CE-442018859988}"/>
          </ac:spMkLst>
        </pc:spChg>
        <pc:spChg chg="mod ord">
          <ac:chgData name="Wang, David" userId="5ba1598c-ec07-46f3-a0aa-a1cc2acb9765" providerId="ADAL" clId="{14C079B1-3763-444B-B216-374EF69EE7DF}" dt="2021-07-26T12:56:32.247" v="72886" actId="948"/>
          <ac:spMkLst>
            <pc:docMk/>
            <pc:sldMk cId="2108684427" sldId="9172"/>
            <ac:spMk id="372" creationId="{EFA36435-5380-4C48-991C-AE7B756BC452}"/>
          </ac:spMkLst>
        </pc:spChg>
        <pc:spChg chg="mod ord">
          <ac:chgData name="Wang, David" userId="5ba1598c-ec07-46f3-a0aa-a1cc2acb9765" providerId="ADAL" clId="{14C079B1-3763-444B-B216-374EF69EE7DF}" dt="2021-07-26T12:56:32.247" v="72887" actId="948"/>
          <ac:spMkLst>
            <pc:docMk/>
            <pc:sldMk cId="2108684427" sldId="9172"/>
            <ac:spMk id="385" creationId="{C635D15A-8594-457E-993E-C32D27375C5C}"/>
          </ac:spMkLst>
        </pc:spChg>
        <pc:spChg chg="mod ord">
          <ac:chgData name="Wang, David" userId="5ba1598c-ec07-46f3-a0aa-a1cc2acb9765" providerId="ADAL" clId="{14C079B1-3763-444B-B216-374EF69EE7DF}" dt="2021-07-26T12:56:32.231" v="72881" actId="948"/>
          <ac:spMkLst>
            <pc:docMk/>
            <pc:sldMk cId="2108684427" sldId="9172"/>
            <ac:spMk id="388" creationId="{614E70ED-E711-438F-AB77-79B481F3DC7F}"/>
          </ac:spMkLst>
        </pc:spChg>
        <pc:spChg chg="mod ord">
          <ac:chgData name="Wang, David" userId="5ba1598c-ec07-46f3-a0aa-a1cc2acb9765" providerId="ADAL" clId="{14C079B1-3763-444B-B216-374EF69EE7DF}" dt="2021-07-26T12:56:32.231" v="72883" actId="948"/>
          <ac:spMkLst>
            <pc:docMk/>
            <pc:sldMk cId="2108684427" sldId="9172"/>
            <ac:spMk id="393" creationId="{51918F42-E326-44DF-89D3-607911A82439}"/>
          </ac:spMkLst>
        </pc:spChg>
        <pc:spChg chg="mod ord">
          <ac:chgData name="Wang, David" userId="5ba1598c-ec07-46f3-a0aa-a1cc2acb9765" providerId="ADAL" clId="{14C079B1-3763-444B-B216-374EF69EE7DF}" dt="2021-07-26T12:24:07.523" v="54927"/>
          <ac:spMkLst>
            <pc:docMk/>
            <pc:sldMk cId="2108684427" sldId="9172"/>
            <ac:spMk id="395" creationId="{7D596214-EDEE-40FE-8203-54A0F3DC0219}"/>
          </ac:spMkLst>
        </pc:spChg>
        <pc:spChg chg="mod ord">
          <ac:chgData name="Wang, David" userId="5ba1598c-ec07-46f3-a0aa-a1cc2acb9765" providerId="ADAL" clId="{14C079B1-3763-444B-B216-374EF69EE7DF}" dt="2021-07-26T12:56:32.231" v="72882" actId="948"/>
          <ac:spMkLst>
            <pc:docMk/>
            <pc:sldMk cId="2108684427" sldId="9172"/>
            <ac:spMk id="400" creationId="{3715C4A3-DB57-4920-BD34-7F5385061BDB}"/>
          </ac:spMkLst>
        </pc:spChg>
        <pc:spChg chg="mod ord">
          <ac:chgData name="Wang, David" userId="5ba1598c-ec07-46f3-a0aa-a1cc2acb9765" providerId="ADAL" clId="{14C079B1-3763-444B-B216-374EF69EE7DF}" dt="2021-07-26T12:56:32.262" v="72889" actId="948"/>
          <ac:spMkLst>
            <pc:docMk/>
            <pc:sldMk cId="2108684427" sldId="9172"/>
            <ac:spMk id="413" creationId="{A740598C-87FE-4B7E-82F0-6E2253C12C34}"/>
          </ac:spMkLst>
        </pc:spChg>
        <pc:spChg chg="mod ord">
          <ac:chgData name="Wang, David" userId="5ba1598c-ec07-46f3-a0aa-a1cc2acb9765" providerId="ADAL" clId="{14C079B1-3763-444B-B216-374EF69EE7DF}" dt="2021-07-26T12:56:32.379" v="72925" actId="948"/>
          <ac:spMkLst>
            <pc:docMk/>
            <pc:sldMk cId="2108684427" sldId="9172"/>
            <ac:spMk id="427" creationId="{9D443D96-3F84-4C82-B292-297998452DF5}"/>
          </ac:spMkLst>
        </pc:spChg>
        <pc:graphicFrameChg chg="mod ord">
          <ac:chgData name="Wang, David" userId="5ba1598c-ec07-46f3-a0aa-a1cc2acb9765" providerId="ADAL" clId="{14C079B1-3763-444B-B216-374EF69EE7DF}" dt="2021-07-26T12:56:32.509" v="72946"/>
          <ac:graphicFrameMkLst>
            <pc:docMk/>
            <pc:sldMk cId="2108684427" sldId="9172"/>
            <ac:graphicFrameMk id="25" creationId="{B4272582-F9BE-4551-B91E-4987C5505A19}"/>
          </ac:graphicFrameMkLst>
        </pc:graphicFrameChg>
        <pc:picChg chg="mod">
          <ac:chgData name="Wang, David" userId="5ba1598c-ec07-46f3-a0aa-a1cc2acb9765" providerId="ADAL" clId="{14C079B1-3763-444B-B216-374EF69EE7DF}" dt="2021-07-26T12:42:51.570" v="65262" actId="1076"/>
          <ac:picMkLst>
            <pc:docMk/>
            <pc:sldMk cId="2108684427" sldId="9172"/>
            <ac:picMk id="344" creationId="{682EC87B-E047-42B9-AD03-95388165659C}"/>
          </ac:picMkLst>
        </pc:picChg>
        <pc:picChg chg="mod">
          <ac:chgData name="Wang, David" userId="5ba1598c-ec07-46f3-a0aa-a1cc2acb9765" providerId="ADAL" clId="{14C079B1-3763-444B-B216-374EF69EE7DF}" dt="2021-07-26T12:42:49.464" v="65261" actId="1076"/>
          <ac:picMkLst>
            <pc:docMk/>
            <pc:sldMk cId="2108684427" sldId="9172"/>
            <ac:picMk id="345" creationId="{B6288E88-D483-4517-9FB3-96B01D47E1F0}"/>
          </ac:picMkLst>
        </pc:picChg>
        <pc:picChg chg="mod">
          <ac:chgData name="Wang, David" userId="5ba1598c-ec07-46f3-a0aa-a1cc2acb9765" providerId="ADAL" clId="{14C079B1-3763-444B-B216-374EF69EE7DF}" dt="2021-07-26T12:42:47.814" v="65260" actId="1076"/>
          <ac:picMkLst>
            <pc:docMk/>
            <pc:sldMk cId="2108684427" sldId="9172"/>
            <ac:picMk id="346" creationId="{8B6346E0-2656-4FDD-B613-FCF3C9B4F3F7}"/>
          </ac:picMkLst>
        </pc:picChg>
        <pc:picChg chg="del mod">
          <ac:chgData name="Wang, David" userId="5ba1598c-ec07-46f3-a0aa-a1cc2acb9765" providerId="ADAL" clId="{14C079B1-3763-444B-B216-374EF69EE7DF}" dt="2021-07-26T09:36:46.009" v="27976" actId="478"/>
          <ac:picMkLst>
            <pc:docMk/>
            <pc:sldMk cId="2108684427" sldId="9172"/>
            <ac:picMk id="429" creationId="{6A0CFB41-B84E-4BEC-9B2B-CFACD61E18B6}"/>
          </ac:picMkLst>
        </pc:picChg>
        <pc:picChg chg="mod ord">
          <ac:chgData name="Wang, David" userId="5ba1598c-ec07-46f3-a0aa-a1cc2acb9765" providerId="ADAL" clId="{14C079B1-3763-444B-B216-374EF69EE7DF}" dt="2021-07-26T12:24:07.539" v="54960"/>
          <ac:picMkLst>
            <pc:docMk/>
            <pc:sldMk cId="2108684427" sldId="9172"/>
            <ac:picMk id="430" creationId="{81473077-7891-4996-8069-08ACE6FBD883}"/>
          </ac:picMkLst>
        </pc:picChg>
        <pc:cxnChg chg="add del mod ord">
          <ac:chgData name="Wang, David" userId="5ba1598c-ec07-46f3-a0aa-a1cc2acb9765" providerId="ADAL" clId="{14C079B1-3763-444B-B216-374EF69EE7DF}" dt="2021-07-26T08:55:05.848" v="26881"/>
          <ac:cxnSpMkLst>
            <pc:docMk/>
            <pc:sldMk cId="2108684427" sldId="9172"/>
            <ac:cxnSpMk id="11" creationId="{D800D9B8-EEE6-49A8-89FC-6F49E8419396}"/>
          </ac:cxnSpMkLst>
        </pc:cxnChg>
        <pc:cxnChg chg="add del mod ord">
          <ac:chgData name="Wang, David" userId="5ba1598c-ec07-46f3-a0aa-a1cc2acb9765" providerId="ADAL" clId="{14C079B1-3763-444B-B216-374EF69EE7DF}" dt="2021-07-26T08:55:05.848" v="26891"/>
          <ac:cxnSpMkLst>
            <pc:docMk/>
            <pc:sldMk cId="2108684427" sldId="9172"/>
            <ac:cxnSpMk id="12" creationId="{BDD23BCD-AD14-474D-B6F5-40517F9A8B13}"/>
          </ac:cxnSpMkLst>
        </pc:cxnChg>
        <pc:cxnChg chg="add del mod">
          <ac:chgData name="Wang, David" userId="5ba1598c-ec07-46f3-a0aa-a1cc2acb9765" providerId="ADAL" clId="{14C079B1-3763-444B-B216-374EF69EE7DF}" dt="2021-07-26T12:13:47.884" v="53478" actId="478"/>
          <ac:cxnSpMkLst>
            <pc:docMk/>
            <pc:sldMk cId="2108684427" sldId="9172"/>
            <ac:cxnSpMk id="26" creationId="{F4DB43AE-988D-4669-86EF-DDCE0DBCA021}"/>
          </ac:cxnSpMkLst>
        </pc:cxnChg>
        <pc:cxnChg chg="mod ord">
          <ac:chgData name="Wang, David" userId="5ba1598c-ec07-46f3-a0aa-a1cc2acb9765" providerId="ADAL" clId="{14C079B1-3763-444B-B216-374EF69EE7DF}" dt="2021-07-26T12:25:05.814" v="56456"/>
          <ac:cxnSpMkLst>
            <pc:docMk/>
            <pc:sldMk cId="2108684427" sldId="9172"/>
            <ac:cxnSpMk id="219" creationId="{95B708BE-B96A-425B-8F6D-532A98226894}"/>
          </ac:cxnSpMkLst>
        </pc:cxnChg>
        <pc:cxnChg chg="mod ord">
          <ac:chgData name="Wang, David" userId="5ba1598c-ec07-46f3-a0aa-a1cc2acb9765" providerId="ADAL" clId="{14C079B1-3763-444B-B216-374EF69EE7DF}" dt="2021-07-26T12:25:05.830" v="56472"/>
          <ac:cxnSpMkLst>
            <pc:docMk/>
            <pc:sldMk cId="2108684427" sldId="9172"/>
            <ac:cxnSpMk id="220" creationId="{898C7E80-E672-4890-8A6A-BFB6822CAF10}"/>
          </ac:cxnSpMkLst>
        </pc:cxnChg>
        <pc:cxnChg chg="mod ord">
          <ac:chgData name="Wang, David" userId="5ba1598c-ec07-46f3-a0aa-a1cc2acb9765" providerId="ADAL" clId="{14C079B1-3763-444B-B216-374EF69EE7DF}" dt="2021-07-26T12:25:05.836" v="56488"/>
          <ac:cxnSpMkLst>
            <pc:docMk/>
            <pc:sldMk cId="2108684427" sldId="9172"/>
            <ac:cxnSpMk id="222" creationId="{9E54490D-7710-438E-85CE-90B5E3D97DAB}"/>
          </ac:cxnSpMkLst>
        </pc:cxnChg>
        <pc:cxnChg chg="mod ord">
          <ac:chgData name="Wang, David" userId="5ba1598c-ec07-46f3-a0aa-a1cc2acb9765" providerId="ADAL" clId="{14C079B1-3763-444B-B216-374EF69EE7DF}" dt="2021-07-26T12:25:05.799" v="56452"/>
          <ac:cxnSpMkLst>
            <pc:docMk/>
            <pc:sldMk cId="2108684427" sldId="9172"/>
            <ac:cxnSpMk id="223" creationId="{FE9E4FF0-6F82-407D-BE55-B4BC5E4AE1F8}"/>
          </ac:cxnSpMkLst>
        </pc:cxnChg>
        <pc:cxnChg chg="mod ord">
          <ac:chgData name="Wang, David" userId="5ba1598c-ec07-46f3-a0aa-a1cc2acb9765" providerId="ADAL" clId="{14C079B1-3763-444B-B216-374EF69EE7DF}" dt="2021-07-26T12:25:05.836" v="56476"/>
          <ac:cxnSpMkLst>
            <pc:docMk/>
            <pc:sldMk cId="2108684427" sldId="9172"/>
            <ac:cxnSpMk id="224" creationId="{C821A027-C170-4C7C-AE38-DDE6E5D20B2C}"/>
          </ac:cxnSpMkLst>
        </pc:cxnChg>
        <pc:cxnChg chg="mod ord">
          <ac:chgData name="Wang, David" userId="5ba1598c-ec07-46f3-a0aa-a1cc2acb9765" providerId="ADAL" clId="{14C079B1-3763-444B-B216-374EF69EE7DF}" dt="2021-07-26T12:25:05.836" v="56492"/>
          <ac:cxnSpMkLst>
            <pc:docMk/>
            <pc:sldMk cId="2108684427" sldId="9172"/>
            <ac:cxnSpMk id="225" creationId="{B2892B2A-2DFA-4279-BC51-326F1ECA6795}"/>
          </ac:cxnSpMkLst>
        </pc:cxnChg>
        <pc:cxnChg chg="mod ord">
          <ac:chgData name="Wang, David" userId="5ba1598c-ec07-46f3-a0aa-a1cc2acb9765" providerId="ADAL" clId="{14C079B1-3763-444B-B216-374EF69EE7DF}" dt="2021-07-26T12:25:05.814" v="56468"/>
          <ac:cxnSpMkLst>
            <pc:docMk/>
            <pc:sldMk cId="2108684427" sldId="9172"/>
            <ac:cxnSpMk id="226" creationId="{A61AE575-F2D7-4572-9022-508021FC1CDC}"/>
          </ac:cxnSpMkLst>
        </pc:cxnChg>
        <pc:cxnChg chg="mod ord">
          <ac:chgData name="Wang, David" userId="5ba1598c-ec07-46f3-a0aa-a1cc2acb9765" providerId="ADAL" clId="{14C079B1-3763-444B-B216-374EF69EE7DF}" dt="2021-07-26T12:25:05.799" v="56448"/>
          <ac:cxnSpMkLst>
            <pc:docMk/>
            <pc:sldMk cId="2108684427" sldId="9172"/>
            <ac:cxnSpMk id="227" creationId="{79105BC4-B266-45F3-BB0F-1D89E0F91C29}"/>
          </ac:cxnSpMkLst>
        </pc:cxnChg>
        <pc:cxnChg chg="mod ord">
          <ac:chgData name="Wang, David" userId="5ba1598c-ec07-46f3-a0aa-a1cc2acb9765" providerId="ADAL" clId="{14C079B1-3763-444B-B216-374EF69EE7DF}" dt="2021-07-26T12:25:05.814" v="56460"/>
          <ac:cxnSpMkLst>
            <pc:docMk/>
            <pc:sldMk cId="2108684427" sldId="9172"/>
            <ac:cxnSpMk id="228" creationId="{C8582662-0EB7-477E-AC97-B76DB2CBB0AA}"/>
          </ac:cxnSpMkLst>
        </pc:cxnChg>
        <pc:cxnChg chg="mod ord">
          <ac:chgData name="Wang, David" userId="5ba1598c-ec07-46f3-a0aa-a1cc2acb9765" providerId="ADAL" clId="{14C079B1-3763-444B-B216-374EF69EE7DF}" dt="2021-07-26T12:25:05.836" v="56480"/>
          <ac:cxnSpMkLst>
            <pc:docMk/>
            <pc:sldMk cId="2108684427" sldId="9172"/>
            <ac:cxnSpMk id="229" creationId="{F15A0E99-E5D3-4AE0-9087-11A4A27B91AB}"/>
          </ac:cxnSpMkLst>
        </pc:cxnChg>
        <pc:cxnChg chg="mod ord">
          <ac:chgData name="Wang, David" userId="5ba1598c-ec07-46f3-a0aa-a1cc2acb9765" providerId="ADAL" clId="{14C079B1-3763-444B-B216-374EF69EE7DF}" dt="2021-07-26T12:25:05.836" v="56484"/>
          <ac:cxnSpMkLst>
            <pc:docMk/>
            <pc:sldMk cId="2108684427" sldId="9172"/>
            <ac:cxnSpMk id="230" creationId="{30748805-D537-4C19-82DE-0F236430D07E}"/>
          </ac:cxnSpMkLst>
        </pc:cxnChg>
        <pc:cxnChg chg="mod ord">
          <ac:chgData name="Wang, David" userId="5ba1598c-ec07-46f3-a0aa-a1cc2acb9765" providerId="ADAL" clId="{14C079B1-3763-444B-B216-374EF69EE7DF}" dt="2021-07-26T12:25:05.814" v="56464"/>
          <ac:cxnSpMkLst>
            <pc:docMk/>
            <pc:sldMk cId="2108684427" sldId="9172"/>
            <ac:cxnSpMk id="231" creationId="{CC0B4B24-2B44-44B9-B76B-4F4D34AFE382}"/>
          </ac:cxnSpMkLst>
        </pc:cxnChg>
        <pc:cxnChg chg="mod ord">
          <ac:chgData name="Wang, David" userId="5ba1598c-ec07-46f3-a0aa-a1cc2acb9765" providerId="ADAL" clId="{14C079B1-3763-444B-B216-374EF69EE7DF}" dt="2021-07-26T12:24:07.507" v="54877"/>
          <ac:cxnSpMkLst>
            <pc:docMk/>
            <pc:sldMk cId="2108684427" sldId="9172"/>
            <ac:cxnSpMk id="232" creationId="{69A525BE-CD2C-4A75-9AB7-B49A4949D651}"/>
          </ac:cxnSpMkLst>
        </pc:cxnChg>
        <pc:cxnChg chg="mod ord">
          <ac:chgData name="Wang, David" userId="5ba1598c-ec07-46f3-a0aa-a1cc2acb9765" providerId="ADAL" clId="{14C079B1-3763-444B-B216-374EF69EE7DF}" dt="2021-07-26T12:25:05.836" v="56496"/>
          <ac:cxnSpMkLst>
            <pc:docMk/>
            <pc:sldMk cId="2108684427" sldId="9172"/>
            <ac:cxnSpMk id="233" creationId="{33D8A905-594E-4830-BE4B-358748CAED01}"/>
          </ac:cxnSpMkLst>
        </pc:cxnChg>
        <pc:cxnChg chg="mod ord">
          <ac:chgData name="Wang, David" userId="5ba1598c-ec07-46f3-a0aa-a1cc2acb9765" providerId="ADAL" clId="{14C079B1-3763-444B-B216-374EF69EE7DF}" dt="2021-07-26T12:25:05.736" v="56364"/>
          <ac:cxnSpMkLst>
            <pc:docMk/>
            <pc:sldMk cId="2108684427" sldId="9172"/>
            <ac:cxnSpMk id="234" creationId="{E4896E1D-505E-49CD-A0DA-83350E87DD74}"/>
          </ac:cxnSpMkLst>
        </pc:cxnChg>
        <pc:cxnChg chg="mod ord">
          <ac:chgData name="Wang, David" userId="5ba1598c-ec07-46f3-a0aa-a1cc2acb9765" providerId="ADAL" clId="{14C079B1-3763-444B-B216-374EF69EE7DF}" dt="2021-07-26T12:24:07.507" v="54887"/>
          <ac:cxnSpMkLst>
            <pc:docMk/>
            <pc:sldMk cId="2108684427" sldId="9172"/>
            <ac:cxnSpMk id="235" creationId="{D37401B9-2698-4001-9BB4-F4D4C81B5392}"/>
          </ac:cxnSpMkLst>
        </pc:cxnChg>
        <pc:cxnChg chg="mod ord">
          <ac:chgData name="Wang, David" userId="5ba1598c-ec07-46f3-a0aa-a1cc2acb9765" providerId="ADAL" clId="{14C079B1-3763-444B-B216-374EF69EE7DF}" dt="2021-07-26T12:24:07.507" v="54881"/>
          <ac:cxnSpMkLst>
            <pc:docMk/>
            <pc:sldMk cId="2108684427" sldId="9172"/>
            <ac:cxnSpMk id="338" creationId="{B06B517D-E06E-4F67-8024-C8683B6CF11E}"/>
          </ac:cxnSpMkLst>
        </pc:cxnChg>
        <pc:cxnChg chg="mod ord">
          <ac:chgData name="Wang, David" userId="5ba1598c-ec07-46f3-a0aa-a1cc2acb9765" providerId="ADAL" clId="{14C079B1-3763-444B-B216-374EF69EE7DF}" dt="2021-07-26T12:25:05.752" v="56404"/>
          <ac:cxnSpMkLst>
            <pc:docMk/>
            <pc:sldMk cId="2108684427" sldId="9172"/>
            <ac:cxnSpMk id="341" creationId="{14F49EA6-43D5-4A9E-8417-8F19021A8A2E}"/>
          </ac:cxnSpMkLst>
        </pc:cxnChg>
      </pc:sldChg>
      <pc:sldChg chg="addSp delSp modSp add mod">
        <pc:chgData name="Wang, David" userId="5ba1598c-ec07-46f3-a0aa-a1cc2acb9765" providerId="ADAL" clId="{14C079B1-3763-444B-B216-374EF69EE7DF}" dt="2021-07-26T12:56:22.674" v="72859"/>
        <pc:sldMkLst>
          <pc:docMk/>
          <pc:sldMk cId="3624471454" sldId="9174"/>
        </pc:sldMkLst>
        <pc:spChg chg="add del mod modVis">
          <ac:chgData name="Wang, David" userId="5ba1598c-ec07-46f3-a0aa-a1cc2acb9765" providerId="ADAL" clId="{14C079B1-3763-444B-B216-374EF69EE7DF}" dt="2021-07-26T11:24:13.257" v="30122"/>
          <ac:spMkLst>
            <pc:docMk/>
            <pc:sldMk cId="3624471454" sldId="9174"/>
            <ac:spMk id="2" creationId="{E7A09AAA-9D63-473D-9966-092286A53AC5}"/>
          </ac:spMkLst>
        </pc:spChg>
        <pc:spChg chg="add del mod ord modVis">
          <ac:chgData name="Wang, David" userId="5ba1598c-ec07-46f3-a0aa-a1cc2acb9765" providerId="ADAL" clId="{14C079B1-3763-444B-B216-374EF69EE7DF}" dt="2021-07-26T11:25:02.006" v="30805"/>
          <ac:spMkLst>
            <pc:docMk/>
            <pc:sldMk cId="3624471454" sldId="9174"/>
            <ac:spMk id="3" creationId="{F29AADEE-CE77-4206-8638-CF4EA6144281}"/>
          </ac:spMkLst>
        </pc:spChg>
        <pc:spChg chg="add del mod ord modVis">
          <ac:chgData name="Wang, David" userId="5ba1598c-ec07-46f3-a0aa-a1cc2acb9765" providerId="ADAL" clId="{14C079B1-3763-444B-B216-374EF69EE7DF}" dt="2021-07-26T11:25:59.397" v="31457"/>
          <ac:spMkLst>
            <pc:docMk/>
            <pc:sldMk cId="3624471454" sldId="9174"/>
            <ac:spMk id="5" creationId="{9D0C78DB-EC57-463F-A184-0B3D4331D6B2}"/>
          </ac:spMkLst>
        </pc:spChg>
        <pc:spChg chg="add del mod ord modVis">
          <ac:chgData name="Wang, David" userId="5ba1598c-ec07-46f3-a0aa-a1cc2acb9765" providerId="ADAL" clId="{14C079B1-3763-444B-B216-374EF69EE7DF}" dt="2021-07-26T11:26:25.916" v="32565"/>
          <ac:spMkLst>
            <pc:docMk/>
            <pc:sldMk cId="3624471454" sldId="9174"/>
            <ac:spMk id="7" creationId="{C2BA8BDA-9FC7-4D17-92A2-5F625C41F3ED}"/>
          </ac:spMkLst>
        </pc:spChg>
        <pc:spChg chg="add del mod modVis">
          <ac:chgData name="Wang, David" userId="5ba1598c-ec07-46f3-a0aa-a1cc2acb9765" providerId="ADAL" clId="{14C079B1-3763-444B-B216-374EF69EE7DF}" dt="2021-07-26T11:26:39.641" v="32662"/>
          <ac:spMkLst>
            <pc:docMk/>
            <pc:sldMk cId="3624471454" sldId="9174"/>
            <ac:spMk id="9" creationId="{18B8F74F-3F0C-4483-A1D2-BEFDB6409524}"/>
          </ac:spMkLst>
        </pc:spChg>
        <pc:spChg chg="mod ord">
          <ac:chgData name="Wang, David" userId="5ba1598c-ec07-46f3-a0aa-a1cc2acb9765" providerId="ADAL" clId="{14C079B1-3763-444B-B216-374EF69EE7DF}" dt="2021-07-26T12:26:19.686" v="58524"/>
          <ac:spMkLst>
            <pc:docMk/>
            <pc:sldMk cId="3624471454" sldId="9174"/>
            <ac:spMk id="10" creationId="{A310D566-ED4C-438F-84B7-94FA6F677340}"/>
          </ac:spMkLst>
        </pc:spChg>
        <pc:spChg chg="add del mod modVis">
          <ac:chgData name="Wang, David" userId="5ba1598c-ec07-46f3-a0aa-a1cc2acb9765" providerId="ADAL" clId="{14C079B1-3763-444B-B216-374EF69EE7DF}" dt="2021-07-26T11:26:40.560" v="32747"/>
          <ac:spMkLst>
            <pc:docMk/>
            <pc:sldMk cId="3624471454" sldId="9174"/>
            <ac:spMk id="11" creationId="{B0B3C3E8-D531-4509-9B35-743278EB2FA9}"/>
          </ac:spMkLst>
        </pc:spChg>
        <pc:spChg chg="add del mod modVis">
          <ac:chgData name="Wang, David" userId="5ba1598c-ec07-46f3-a0aa-a1cc2acb9765" providerId="ADAL" clId="{14C079B1-3763-444B-B216-374EF69EE7DF}" dt="2021-07-26T11:26:42.752" v="32845"/>
          <ac:spMkLst>
            <pc:docMk/>
            <pc:sldMk cId="3624471454" sldId="9174"/>
            <ac:spMk id="12" creationId="{8E1D728B-CCB8-4E14-95E2-CB0D4CFDE239}"/>
          </ac:spMkLst>
        </pc:spChg>
        <pc:spChg chg="add del mod modVis">
          <ac:chgData name="Wang, David" userId="5ba1598c-ec07-46f3-a0aa-a1cc2acb9765" providerId="ADAL" clId="{14C079B1-3763-444B-B216-374EF69EE7DF}" dt="2021-07-26T11:26:43.971" v="32930"/>
          <ac:spMkLst>
            <pc:docMk/>
            <pc:sldMk cId="3624471454" sldId="9174"/>
            <ac:spMk id="13" creationId="{B58BBB9A-3847-4628-8A16-2D6C4F7DB62E}"/>
          </ac:spMkLst>
        </pc:spChg>
        <pc:spChg chg="add del mod modVis">
          <ac:chgData name="Wang, David" userId="5ba1598c-ec07-46f3-a0aa-a1cc2acb9765" providerId="ADAL" clId="{14C079B1-3763-444B-B216-374EF69EE7DF}" dt="2021-07-26T11:26:45.396" v="33015"/>
          <ac:spMkLst>
            <pc:docMk/>
            <pc:sldMk cId="3624471454" sldId="9174"/>
            <ac:spMk id="14" creationId="{F4556246-E63D-4A35-A5BA-BA09BCC911F1}"/>
          </ac:spMkLst>
        </pc:spChg>
        <pc:spChg chg="add del mod modVis">
          <ac:chgData name="Wang, David" userId="5ba1598c-ec07-46f3-a0aa-a1cc2acb9765" providerId="ADAL" clId="{14C079B1-3763-444B-B216-374EF69EE7DF}" dt="2021-07-26T11:26:46.235" v="33112"/>
          <ac:spMkLst>
            <pc:docMk/>
            <pc:sldMk cId="3624471454" sldId="9174"/>
            <ac:spMk id="15" creationId="{AF6D401B-E673-4D61-9677-A7D5F8F171DF}"/>
          </ac:spMkLst>
        </pc:spChg>
        <pc:spChg chg="add del mod modVis">
          <ac:chgData name="Wang, David" userId="5ba1598c-ec07-46f3-a0aa-a1cc2acb9765" providerId="ADAL" clId="{14C079B1-3763-444B-B216-374EF69EE7DF}" dt="2021-07-26T11:26:49.365" v="33209"/>
          <ac:spMkLst>
            <pc:docMk/>
            <pc:sldMk cId="3624471454" sldId="9174"/>
            <ac:spMk id="16" creationId="{D8BDA816-5A1A-4AEB-BDF9-0F98CE8822E1}"/>
          </ac:spMkLst>
        </pc:spChg>
        <pc:spChg chg="add del mod modVis">
          <ac:chgData name="Wang, David" userId="5ba1598c-ec07-46f3-a0aa-a1cc2acb9765" providerId="ADAL" clId="{14C079B1-3763-444B-B216-374EF69EE7DF}" dt="2021-07-26T11:26:50.767" v="33296"/>
          <ac:spMkLst>
            <pc:docMk/>
            <pc:sldMk cId="3624471454" sldId="9174"/>
            <ac:spMk id="17" creationId="{910B1034-AC8D-4666-930B-8DF0BD56375A}"/>
          </ac:spMkLst>
        </pc:spChg>
        <pc:spChg chg="add del mod modVis">
          <ac:chgData name="Wang, David" userId="5ba1598c-ec07-46f3-a0aa-a1cc2acb9765" providerId="ADAL" clId="{14C079B1-3763-444B-B216-374EF69EE7DF}" dt="2021-07-26T11:27:10.879" v="33441"/>
          <ac:spMkLst>
            <pc:docMk/>
            <pc:sldMk cId="3624471454" sldId="9174"/>
            <ac:spMk id="18" creationId="{7E1DB376-9570-4F9F-8F62-DEB655DAFC9C}"/>
          </ac:spMkLst>
        </pc:spChg>
        <pc:spChg chg="add del mod modVis">
          <ac:chgData name="Wang, David" userId="5ba1598c-ec07-46f3-a0aa-a1cc2acb9765" providerId="ADAL" clId="{14C079B1-3763-444B-B216-374EF69EE7DF}" dt="2021-07-26T11:27:13.335" v="33529"/>
          <ac:spMkLst>
            <pc:docMk/>
            <pc:sldMk cId="3624471454" sldId="9174"/>
            <ac:spMk id="19" creationId="{9FC69071-C1CB-4D56-B0A5-EBD56CC241CB}"/>
          </ac:spMkLst>
        </pc:spChg>
        <pc:spChg chg="add del mod modVis">
          <ac:chgData name="Wang, David" userId="5ba1598c-ec07-46f3-a0aa-a1cc2acb9765" providerId="ADAL" clId="{14C079B1-3763-444B-B216-374EF69EE7DF}" dt="2021-07-26T11:27:15.208" v="33628"/>
          <ac:spMkLst>
            <pc:docMk/>
            <pc:sldMk cId="3624471454" sldId="9174"/>
            <ac:spMk id="20" creationId="{9A02EFED-11F9-492D-A72B-5F4C5703AFAB}"/>
          </ac:spMkLst>
        </pc:spChg>
        <pc:spChg chg="add del mod modVis">
          <ac:chgData name="Wang, David" userId="5ba1598c-ec07-46f3-a0aa-a1cc2acb9765" providerId="ADAL" clId="{14C079B1-3763-444B-B216-374EF69EE7DF}" dt="2021-07-26T11:27:16.549" v="33715"/>
          <ac:spMkLst>
            <pc:docMk/>
            <pc:sldMk cId="3624471454" sldId="9174"/>
            <ac:spMk id="21" creationId="{38F59F9F-D3B5-440C-8970-D06970DF43C4}"/>
          </ac:spMkLst>
        </pc:spChg>
        <pc:spChg chg="add del mod modVis">
          <ac:chgData name="Wang, David" userId="5ba1598c-ec07-46f3-a0aa-a1cc2acb9765" providerId="ADAL" clId="{14C079B1-3763-444B-B216-374EF69EE7DF}" dt="2021-07-26T11:34:12.519" v="37416" actId="962"/>
          <ac:spMkLst>
            <pc:docMk/>
            <pc:sldMk cId="3624471454" sldId="9174"/>
            <ac:spMk id="22" creationId="{C8B0A69B-7E05-419C-A984-87419BC6167D}"/>
          </ac:spMkLst>
        </pc:spChg>
        <pc:spChg chg="add del mod modVis">
          <ac:chgData name="Wang, David" userId="5ba1598c-ec07-46f3-a0aa-a1cc2acb9765" providerId="ADAL" clId="{14C079B1-3763-444B-B216-374EF69EE7DF}" dt="2021-07-26T11:34:10.146" v="36863" actId="962"/>
          <ac:spMkLst>
            <pc:docMk/>
            <pc:sldMk cId="3624471454" sldId="9174"/>
            <ac:spMk id="23" creationId="{EB9D4AC6-9ABB-4D79-AE36-E881A24800CD}"/>
          </ac:spMkLst>
        </pc:spChg>
        <pc:spChg chg="add del mod modVis">
          <ac:chgData name="Wang, David" userId="5ba1598c-ec07-46f3-a0aa-a1cc2acb9765" providerId="ADAL" clId="{14C079B1-3763-444B-B216-374EF69EE7DF}" dt="2021-07-26T11:34:15.969" v="38406" actId="962"/>
          <ac:spMkLst>
            <pc:docMk/>
            <pc:sldMk cId="3624471454" sldId="9174"/>
            <ac:spMk id="24" creationId="{1B10762A-201C-4E76-B36B-CB45A345257C}"/>
          </ac:spMkLst>
        </pc:spChg>
        <pc:spChg chg="add del mod modVis">
          <ac:chgData name="Wang, David" userId="5ba1598c-ec07-46f3-a0aa-a1cc2acb9765" providerId="ADAL" clId="{14C079B1-3763-444B-B216-374EF69EE7DF}" dt="2021-07-26T11:34:22.073" v="39092"/>
          <ac:spMkLst>
            <pc:docMk/>
            <pc:sldMk cId="3624471454" sldId="9174"/>
            <ac:spMk id="26" creationId="{80BF77DE-8209-4EDB-8190-E4F17C95EEA9}"/>
          </ac:spMkLst>
        </pc:spChg>
        <pc:spChg chg="add del mod ord modVis">
          <ac:chgData name="Wang, David" userId="5ba1598c-ec07-46f3-a0aa-a1cc2acb9765" providerId="ADAL" clId="{14C079B1-3763-444B-B216-374EF69EE7DF}" dt="2021-07-26T11:51:29.677" v="42953"/>
          <ac:spMkLst>
            <pc:docMk/>
            <pc:sldMk cId="3624471454" sldId="9174"/>
            <ac:spMk id="28" creationId="{C8B11D31-B44A-4798-BA21-A2D7B9B1C98E}"/>
          </ac:spMkLst>
        </pc:spChg>
        <pc:spChg chg="add del mod modVis">
          <ac:chgData name="Wang, David" userId="5ba1598c-ec07-46f3-a0aa-a1cc2acb9765" providerId="ADAL" clId="{14C079B1-3763-444B-B216-374EF69EE7DF}" dt="2021-07-26T11:55:08.029" v="44006"/>
          <ac:spMkLst>
            <pc:docMk/>
            <pc:sldMk cId="3624471454" sldId="9174"/>
            <ac:spMk id="29" creationId="{EFA8D662-8797-4CEF-A767-D53C21925970}"/>
          </ac:spMkLst>
        </pc:spChg>
        <pc:spChg chg="add del mod modVis">
          <ac:chgData name="Wang, David" userId="5ba1598c-ec07-46f3-a0aa-a1cc2acb9765" providerId="ADAL" clId="{14C079B1-3763-444B-B216-374EF69EE7DF}" dt="2021-07-26T11:55:09.817" v="44093"/>
          <ac:spMkLst>
            <pc:docMk/>
            <pc:sldMk cId="3624471454" sldId="9174"/>
            <ac:spMk id="30" creationId="{88811F64-B143-470B-A496-602EAC2D468F}"/>
          </ac:spMkLst>
        </pc:spChg>
        <pc:spChg chg="add del mod modVis">
          <ac:chgData name="Wang, David" userId="5ba1598c-ec07-46f3-a0aa-a1cc2acb9765" providerId="ADAL" clId="{14C079B1-3763-444B-B216-374EF69EE7DF}" dt="2021-07-26T11:55:12.217" v="44180"/>
          <ac:spMkLst>
            <pc:docMk/>
            <pc:sldMk cId="3624471454" sldId="9174"/>
            <ac:spMk id="31" creationId="{D8E9413B-6221-4F4A-9422-AF95C8512DE2}"/>
          </ac:spMkLst>
        </pc:spChg>
        <pc:spChg chg="add del mod modVis">
          <ac:chgData name="Wang, David" userId="5ba1598c-ec07-46f3-a0aa-a1cc2acb9765" providerId="ADAL" clId="{14C079B1-3763-444B-B216-374EF69EE7DF}" dt="2021-07-26T12:25:56.712" v="57032"/>
          <ac:spMkLst>
            <pc:docMk/>
            <pc:sldMk cId="3624471454" sldId="9174"/>
            <ac:spMk id="64" creationId="{678100B3-B406-4C64-B285-B7427E0E59B2}"/>
          </ac:spMkLst>
        </pc:spChg>
        <pc:spChg chg="add del mod modVis">
          <ac:chgData name="Wang, David" userId="5ba1598c-ec07-46f3-a0aa-a1cc2acb9765" providerId="ADAL" clId="{14C079B1-3763-444B-B216-374EF69EE7DF}" dt="2021-07-26T12:25:57.587" v="57121"/>
          <ac:spMkLst>
            <pc:docMk/>
            <pc:sldMk cId="3624471454" sldId="9174"/>
            <ac:spMk id="65" creationId="{F8072EFD-C52E-40C6-91A2-2045873F0930}"/>
          </ac:spMkLst>
        </pc:spChg>
        <pc:spChg chg="add del mod modVis">
          <ac:chgData name="Wang, David" userId="5ba1598c-ec07-46f3-a0aa-a1cc2acb9765" providerId="ADAL" clId="{14C079B1-3763-444B-B216-374EF69EE7DF}" dt="2021-07-26T12:25:58.414" v="57210"/>
          <ac:spMkLst>
            <pc:docMk/>
            <pc:sldMk cId="3624471454" sldId="9174"/>
            <ac:spMk id="66" creationId="{CF46EAD0-AA92-4FB5-95C6-8C1DBD741EAD}"/>
          </ac:spMkLst>
        </pc:spChg>
        <pc:spChg chg="add del mod modVis">
          <ac:chgData name="Wang, David" userId="5ba1598c-ec07-46f3-a0aa-a1cc2acb9765" providerId="ADAL" clId="{14C079B1-3763-444B-B216-374EF69EE7DF}" dt="2021-07-26T12:25:59.205" v="57299"/>
          <ac:spMkLst>
            <pc:docMk/>
            <pc:sldMk cId="3624471454" sldId="9174"/>
            <ac:spMk id="67" creationId="{97595E4A-1AD0-4B2A-8191-1072250511D7}"/>
          </ac:spMkLst>
        </pc:spChg>
        <pc:spChg chg="add del mod modVis">
          <ac:chgData name="Wang, David" userId="5ba1598c-ec07-46f3-a0aa-a1cc2acb9765" providerId="ADAL" clId="{14C079B1-3763-444B-B216-374EF69EE7DF}" dt="2021-07-26T12:26:00.220" v="57388"/>
          <ac:spMkLst>
            <pc:docMk/>
            <pc:sldMk cId="3624471454" sldId="9174"/>
            <ac:spMk id="68" creationId="{41104067-0043-4973-8E64-41372D24A7EF}"/>
          </ac:spMkLst>
        </pc:spChg>
        <pc:spChg chg="add del mod modVis">
          <ac:chgData name="Wang, David" userId="5ba1598c-ec07-46f3-a0aa-a1cc2acb9765" providerId="ADAL" clId="{14C079B1-3763-444B-B216-374EF69EE7DF}" dt="2021-07-26T12:26:01.001" v="57477"/>
          <ac:spMkLst>
            <pc:docMk/>
            <pc:sldMk cId="3624471454" sldId="9174"/>
            <ac:spMk id="69" creationId="{48F9C426-D27B-4C9C-9C7E-ECA4565C0AAB}"/>
          </ac:spMkLst>
        </pc:spChg>
        <pc:spChg chg="add del mod modVis">
          <ac:chgData name="Wang, David" userId="5ba1598c-ec07-46f3-a0aa-a1cc2acb9765" providerId="ADAL" clId="{14C079B1-3763-444B-B216-374EF69EE7DF}" dt="2021-07-26T12:26:01.843" v="57567"/>
          <ac:spMkLst>
            <pc:docMk/>
            <pc:sldMk cId="3624471454" sldId="9174"/>
            <ac:spMk id="70" creationId="{A7527C71-BB88-4F5E-AEDD-5820ABA00A1A}"/>
          </ac:spMkLst>
        </pc:spChg>
        <pc:spChg chg="add del mod modVis">
          <ac:chgData name="Wang, David" userId="5ba1598c-ec07-46f3-a0aa-a1cc2acb9765" providerId="ADAL" clId="{14C079B1-3763-444B-B216-374EF69EE7DF}" dt="2021-07-26T12:26:03.646" v="57661"/>
          <ac:spMkLst>
            <pc:docMk/>
            <pc:sldMk cId="3624471454" sldId="9174"/>
            <ac:spMk id="71" creationId="{33FD2C6C-E060-471C-AEA6-AE45ACB572CF}"/>
          </ac:spMkLst>
        </pc:spChg>
        <pc:spChg chg="add del mod ord modVis">
          <ac:chgData name="Wang, David" userId="5ba1598c-ec07-46f3-a0aa-a1cc2acb9765" providerId="ADAL" clId="{14C079B1-3763-444B-B216-374EF69EE7DF}" dt="2021-07-26T12:26:15.195" v="58059"/>
          <ac:spMkLst>
            <pc:docMk/>
            <pc:sldMk cId="3624471454" sldId="9174"/>
            <ac:spMk id="72" creationId="{7F2C6B5D-23ED-4A87-B4C1-92BAC2FED311}"/>
          </ac:spMkLst>
        </pc:spChg>
        <pc:spChg chg="add mod ord">
          <ac:chgData name="Wang, David" userId="5ba1598c-ec07-46f3-a0aa-a1cc2acb9765" providerId="ADAL" clId="{14C079B1-3763-444B-B216-374EF69EE7DF}" dt="2021-07-26T12:26:28.435" v="58891"/>
          <ac:spMkLst>
            <pc:docMk/>
            <pc:sldMk cId="3624471454" sldId="9174"/>
            <ac:spMk id="73" creationId="{687E7A36-DA14-49D7-BF03-5CAD1A8F4BBA}"/>
          </ac:spMkLst>
        </pc:spChg>
        <pc:spChg chg="mod ord">
          <ac:chgData name="Wang, David" userId="5ba1598c-ec07-46f3-a0aa-a1cc2acb9765" providerId="ADAL" clId="{14C079B1-3763-444B-B216-374EF69EE7DF}" dt="2021-07-26T12:56:22.558" v="72838" actId="948"/>
          <ac:spMkLst>
            <pc:docMk/>
            <pc:sldMk cId="3624471454" sldId="9174"/>
            <ac:spMk id="74" creationId="{3D62F378-4065-4013-91BE-B4DFB4388F89}"/>
          </ac:spMkLst>
        </pc:spChg>
        <pc:spChg chg="add mod">
          <ac:chgData name="Wang, David" userId="5ba1598c-ec07-46f3-a0aa-a1cc2acb9765" providerId="ADAL" clId="{14C079B1-3763-444B-B216-374EF69EE7DF}" dt="2021-07-26T12:56:22.643" v="72854"/>
          <ac:spMkLst>
            <pc:docMk/>
            <pc:sldMk cId="3624471454" sldId="9174"/>
            <ac:spMk id="76" creationId="{28BE8510-1A4E-4380-B725-19EDA6F91689}"/>
          </ac:spMkLst>
        </pc:spChg>
        <pc:spChg chg="mod ord">
          <ac:chgData name="Wang, David" userId="5ba1598c-ec07-46f3-a0aa-a1cc2acb9765" providerId="ADAL" clId="{14C079B1-3763-444B-B216-374EF69EE7DF}" dt="2021-07-26T12:56:22.558" v="72837" actId="948"/>
          <ac:spMkLst>
            <pc:docMk/>
            <pc:sldMk cId="3624471454" sldId="9174"/>
            <ac:spMk id="77" creationId="{D6E2C73F-F3BE-4458-A85D-194F1D9C95BF}"/>
          </ac:spMkLst>
        </pc:spChg>
        <pc:spChg chg="add del mod">
          <ac:chgData name="Wang, David" userId="5ba1598c-ec07-46f3-a0aa-a1cc2acb9765" providerId="ADAL" clId="{14C079B1-3763-444B-B216-374EF69EE7DF}" dt="2021-07-26T11:26:17.505" v="31469"/>
          <ac:spMkLst>
            <pc:docMk/>
            <pc:sldMk cId="3624471454" sldId="9174"/>
            <ac:spMk id="78" creationId="{7EE8B93D-1A01-4907-87B4-81A5E7147A40}"/>
          </ac:spMkLst>
        </pc:spChg>
        <pc:spChg chg="mod ord">
          <ac:chgData name="Wang, David" userId="5ba1598c-ec07-46f3-a0aa-a1cc2acb9765" providerId="ADAL" clId="{14C079B1-3763-444B-B216-374EF69EE7DF}" dt="2021-07-26T12:56:22.342" v="72772" actId="948"/>
          <ac:spMkLst>
            <pc:docMk/>
            <pc:sldMk cId="3624471454" sldId="9174"/>
            <ac:spMk id="79" creationId="{AB06C1EB-172F-4D44-8F66-212D75F4F074}"/>
          </ac:spMkLst>
        </pc:spChg>
        <pc:spChg chg="mod ord">
          <ac:chgData name="Wang, David" userId="5ba1598c-ec07-46f3-a0aa-a1cc2acb9765" providerId="ADAL" clId="{14C079B1-3763-444B-B216-374EF69EE7DF}" dt="2021-07-26T12:56:22.558" v="72839" actId="948"/>
          <ac:spMkLst>
            <pc:docMk/>
            <pc:sldMk cId="3624471454" sldId="9174"/>
            <ac:spMk id="80" creationId="{754A0973-E8A8-4120-9EFD-D288C30F5BE5}"/>
          </ac:spMkLst>
        </pc:spChg>
        <pc:spChg chg="mod ord">
          <ac:chgData name="Wang, David" userId="5ba1598c-ec07-46f3-a0aa-a1cc2acb9765" providerId="ADAL" clId="{14C079B1-3763-444B-B216-374EF69EE7DF}" dt="2021-07-26T12:56:22.574" v="72840" actId="948"/>
          <ac:spMkLst>
            <pc:docMk/>
            <pc:sldMk cId="3624471454" sldId="9174"/>
            <ac:spMk id="81" creationId="{9079AC1B-7A88-4F13-B4DE-5E259262EEED}"/>
          </ac:spMkLst>
        </pc:spChg>
        <pc:spChg chg="add mod">
          <ac:chgData name="Wang, David" userId="5ba1598c-ec07-46f3-a0aa-a1cc2acb9765" providerId="ADAL" clId="{14C079B1-3763-444B-B216-374EF69EE7DF}" dt="2021-07-26T12:56:22.643" v="72855"/>
          <ac:spMkLst>
            <pc:docMk/>
            <pc:sldMk cId="3624471454" sldId="9174"/>
            <ac:spMk id="82" creationId="{D5E92396-260A-4412-A24B-E94522824C4A}"/>
          </ac:spMkLst>
        </pc:spChg>
        <pc:spChg chg="add del mod modVis">
          <ac:chgData name="Wang, David" userId="5ba1598c-ec07-46f3-a0aa-a1cc2acb9765" providerId="ADAL" clId="{14C079B1-3763-444B-B216-374EF69EE7DF}" dt="2021-07-26T12:56:22.674" v="72857"/>
          <ac:spMkLst>
            <pc:docMk/>
            <pc:sldMk cId="3624471454" sldId="9174"/>
            <ac:spMk id="83" creationId="{3938FB24-8142-4B16-BFC7-A7AB07A9C5D8}"/>
          </ac:spMkLst>
        </pc:spChg>
        <pc:spChg chg="mod">
          <ac:chgData name="Wang, David" userId="5ba1598c-ec07-46f3-a0aa-a1cc2acb9765" providerId="ADAL" clId="{14C079B1-3763-444B-B216-374EF69EE7DF}" dt="2021-07-26T12:56:22.358" v="72780"/>
          <ac:spMkLst>
            <pc:docMk/>
            <pc:sldMk cId="3624471454" sldId="9174"/>
            <ac:spMk id="92" creationId="{4FE7F889-0FAC-48F8-9841-2D5E11094D8D}"/>
          </ac:spMkLst>
        </pc:spChg>
        <pc:spChg chg="add mod">
          <ac:chgData name="Wang, David" userId="5ba1598c-ec07-46f3-a0aa-a1cc2acb9765" providerId="ADAL" clId="{14C079B1-3763-444B-B216-374EF69EE7DF}" dt="2021-07-26T12:56:22.358" v="72778"/>
          <ac:spMkLst>
            <pc:docMk/>
            <pc:sldMk cId="3624471454" sldId="9174"/>
            <ac:spMk id="104" creationId="{8D1C37F8-E3A4-435D-86E8-299C4ECAC7E7}"/>
          </ac:spMkLst>
        </pc:spChg>
        <pc:spChg chg="add mod ord">
          <ac:chgData name="Wang, David" userId="5ba1598c-ec07-46f3-a0aa-a1cc2acb9765" providerId="ADAL" clId="{14C079B1-3763-444B-B216-374EF69EE7DF}" dt="2021-07-26T12:56:22.543" v="72833" actId="948"/>
          <ac:spMkLst>
            <pc:docMk/>
            <pc:sldMk cId="3624471454" sldId="9174"/>
            <ac:spMk id="111" creationId="{DF4EFCC7-0682-45CE-AD11-608A5DFD6458}"/>
          </ac:spMkLst>
        </pc:spChg>
        <pc:spChg chg="add mod ord">
          <ac:chgData name="Wang, David" userId="5ba1598c-ec07-46f3-a0aa-a1cc2acb9765" providerId="ADAL" clId="{14C079B1-3763-444B-B216-374EF69EE7DF}" dt="2021-07-26T12:56:22.543" v="72834" actId="948"/>
          <ac:spMkLst>
            <pc:docMk/>
            <pc:sldMk cId="3624471454" sldId="9174"/>
            <ac:spMk id="112" creationId="{C5BB2288-6601-4C3F-9693-BC13C84018FE}"/>
          </ac:spMkLst>
        </pc:spChg>
        <pc:spChg chg="add mod ord">
          <ac:chgData name="Wang, David" userId="5ba1598c-ec07-46f3-a0aa-a1cc2acb9765" providerId="ADAL" clId="{14C079B1-3763-444B-B216-374EF69EE7DF}" dt="2021-07-26T12:56:22.558" v="72835" actId="948"/>
          <ac:spMkLst>
            <pc:docMk/>
            <pc:sldMk cId="3624471454" sldId="9174"/>
            <ac:spMk id="113" creationId="{867E8AFD-23CB-4BC9-88E7-70A4D77C2B42}"/>
          </ac:spMkLst>
        </pc:spChg>
        <pc:spChg chg="add mod ord">
          <ac:chgData name="Wang, David" userId="5ba1598c-ec07-46f3-a0aa-a1cc2acb9765" providerId="ADAL" clId="{14C079B1-3763-444B-B216-374EF69EE7DF}" dt="2021-07-26T12:56:22.396" v="72790" actId="948"/>
          <ac:spMkLst>
            <pc:docMk/>
            <pc:sldMk cId="3624471454" sldId="9174"/>
            <ac:spMk id="136" creationId="{CF89CC0C-9430-4D93-989B-2E49531228B9}"/>
          </ac:spMkLst>
        </pc:spChg>
        <pc:spChg chg="add mod ord">
          <ac:chgData name="Wang, David" userId="5ba1598c-ec07-46f3-a0aa-a1cc2acb9765" providerId="ADAL" clId="{14C079B1-3763-444B-B216-374EF69EE7DF}" dt="2021-07-26T12:56:22.411" v="72796" actId="948"/>
          <ac:spMkLst>
            <pc:docMk/>
            <pc:sldMk cId="3624471454" sldId="9174"/>
            <ac:spMk id="155" creationId="{F45DEDA3-7A12-47BB-A32D-D8179F71FBAD}"/>
          </ac:spMkLst>
        </pc:spChg>
        <pc:spChg chg="mod">
          <ac:chgData name="Wang, David" userId="5ba1598c-ec07-46f3-a0aa-a1cc2acb9765" providerId="ADAL" clId="{14C079B1-3763-444B-B216-374EF69EE7DF}" dt="2021-07-26T12:56:22.627" v="72842"/>
          <ac:spMkLst>
            <pc:docMk/>
            <pc:sldMk cId="3624471454" sldId="9174"/>
            <ac:spMk id="206" creationId="{9E1367D4-28B6-4119-842C-9A085E9D6270}"/>
          </ac:spMkLst>
        </pc:spChg>
        <pc:spChg chg="mod">
          <ac:chgData name="Wang, David" userId="5ba1598c-ec07-46f3-a0aa-a1cc2acb9765" providerId="ADAL" clId="{14C079B1-3763-444B-B216-374EF69EE7DF}" dt="2021-07-26T12:56:22.627" v="72843"/>
          <ac:spMkLst>
            <pc:docMk/>
            <pc:sldMk cId="3624471454" sldId="9174"/>
            <ac:spMk id="207" creationId="{0B4A72E4-8F49-4599-9D39-7CB5CDC8900A}"/>
          </ac:spMkLst>
        </pc:spChg>
        <pc:spChg chg="mod">
          <ac:chgData name="Wang, David" userId="5ba1598c-ec07-46f3-a0aa-a1cc2acb9765" providerId="ADAL" clId="{14C079B1-3763-444B-B216-374EF69EE7DF}" dt="2021-07-26T12:56:22.627" v="72844"/>
          <ac:spMkLst>
            <pc:docMk/>
            <pc:sldMk cId="3624471454" sldId="9174"/>
            <ac:spMk id="208" creationId="{69228C3E-55D0-4A11-B86B-0DBD73E7B5E9}"/>
          </ac:spMkLst>
        </pc:spChg>
        <pc:spChg chg="mod">
          <ac:chgData name="Wang, David" userId="5ba1598c-ec07-46f3-a0aa-a1cc2acb9765" providerId="ADAL" clId="{14C079B1-3763-444B-B216-374EF69EE7DF}" dt="2021-07-26T12:56:22.627" v="72845"/>
          <ac:spMkLst>
            <pc:docMk/>
            <pc:sldMk cId="3624471454" sldId="9174"/>
            <ac:spMk id="209" creationId="{E3871573-23FE-4E7A-8E9C-F04056EE70BE}"/>
          </ac:spMkLst>
        </pc:spChg>
        <pc:spChg chg="mod">
          <ac:chgData name="Wang, David" userId="5ba1598c-ec07-46f3-a0aa-a1cc2acb9765" providerId="ADAL" clId="{14C079B1-3763-444B-B216-374EF69EE7DF}" dt="2021-07-26T12:56:22.627" v="72846"/>
          <ac:spMkLst>
            <pc:docMk/>
            <pc:sldMk cId="3624471454" sldId="9174"/>
            <ac:spMk id="210" creationId="{DF6B9752-BBD2-42E1-9E30-103B894DCA1C}"/>
          </ac:spMkLst>
        </pc:spChg>
        <pc:spChg chg="mod">
          <ac:chgData name="Wang, David" userId="5ba1598c-ec07-46f3-a0aa-a1cc2acb9765" providerId="ADAL" clId="{14C079B1-3763-444B-B216-374EF69EE7DF}" dt="2021-07-26T12:56:22.627" v="72847"/>
          <ac:spMkLst>
            <pc:docMk/>
            <pc:sldMk cId="3624471454" sldId="9174"/>
            <ac:spMk id="211" creationId="{36B33435-9F9D-47D9-851D-DF89BC995A99}"/>
          </ac:spMkLst>
        </pc:spChg>
        <pc:spChg chg="mod">
          <ac:chgData name="Wang, David" userId="5ba1598c-ec07-46f3-a0aa-a1cc2acb9765" providerId="ADAL" clId="{14C079B1-3763-444B-B216-374EF69EE7DF}" dt="2021-07-26T12:56:22.627" v="72848"/>
          <ac:spMkLst>
            <pc:docMk/>
            <pc:sldMk cId="3624471454" sldId="9174"/>
            <ac:spMk id="212" creationId="{0135892B-C866-4BA8-995B-9D73F33EBB47}"/>
          </ac:spMkLst>
        </pc:spChg>
        <pc:spChg chg="mod">
          <ac:chgData name="Wang, David" userId="5ba1598c-ec07-46f3-a0aa-a1cc2acb9765" providerId="ADAL" clId="{14C079B1-3763-444B-B216-374EF69EE7DF}" dt="2021-07-26T12:56:22.627" v="72849"/>
          <ac:spMkLst>
            <pc:docMk/>
            <pc:sldMk cId="3624471454" sldId="9174"/>
            <ac:spMk id="213" creationId="{84B25C79-60D1-46EB-A2F5-CA570DD7FCC8}"/>
          </ac:spMkLst>
        </pc:spChg>
        <pc:spChg chg="mod">
          <ac:chgData name="Wang, David" userId="5ba1598c-ec07-46f3-a0aa-a1cc2acb9765" providerId="ADAL" clId="{14C079B1-3763-444B-B216-374EF69EE7DF}" dt="2021-07-26T12:56:22.627" v="72850"/>
          <ac:spMkLst>
            <pc:docMk/>
            <pc:sldMk cId="3624471454" sldId="9174"/>
            <ac:spMk id="214" creationId="{AC69695F-24DB-4A1B-9BC8-F85B72DFCC54}"/>
          </ac:spMkLst>
        </pc:spChg>
        <pc:spChg chg="mod">
          <ac:chgData name="Wang, David" userId="5ba1598c-ec07-46f3-a0aa-a1cc2acb9765" providerId="ADAL" clId="{14C079B1-3763-444B-B216-374EF69EE7DF}" dt="2021-07-26T12:56:22.643" v="72851"/>
          <ac:spMkLst>
            <pc:docMk/>
            <pc:sldMk cId="3624471454" sldId="9174"/>
            <ac:spMk id="215" creationId="{608C7124-1C20-4C32-A396-771AB3C35204}"/>
          </ac:spMkLst>
        </pc:spChg>
        <pc:spChg chg="mod">
          <ac:chgData name="Wang, David" userId="5ba1598c-ec07-46f3-a0aa-a1cc2acb9765" providerId="ADAL" clId="{14C079B1-3763-444B-B216-374EF69EE7DF}" dt="2021-07-26T12:56:22.643" v="72852"/>
          <ac:spMkLst>
            <pc:docMk/>
            <pc:sldMk cId="3624471454" sldId="9174"/>
            <ac:spMk id="216" creationId="{F7B0C8E3-7019-46E8-92F3-25C11A4748DF}"/>
          </ac:spMkLst>
        </pc:spChg>
        <pc:spChg chg="mod">
          <ac:chgData name="Wang, David" userId="5ba1598c-ec07-46f3-a0aa-a1cc2acb9765" providerId="ADAL" clId="{14C079B1-3763-444B-B216-374EF69EE7DF}" dt="2021-07-26T12:56:22.643" v="72853"/>
          <ac:spMkLst>
            <pc:docMk/>
            <pc:sldMk cId="3624471454" sldId="9174"/>
            <ac:spMk id="217" creationId="{651A3D62-51BC-4E84-B66A-7C2CA2A436B1}"/>
          </ac:spMkLst>
        </pc:spChg>
        <pc:spChg chg="add del mod modVis">
          <ac:chgData name="Wang, David" userId="5ba1598c-ec07-46f3-a0aa-a1cc2acb9765" providerId="ADAL" clId="{14C079B1-3763-444B-B216-374EF69EE7DF}" dt="2021-07-26T11:56:51.837" v="45150"/>
          <ac:spMkLst>
            <pc:docMk/>
            <pc:sldMk cId="3624471454" sldId="9174"/>
            <ac:spMk id="236" creationId="{D989C155-C70C-4DEC-BE25-B0E6CE5A38CA}"/>
          </ac:spMkLst>
        </pc:spChg>
        <pc:spChg chg="mod ord">
          <ac:chgData name="Wang, David" userId="5ba1598c-ec07-46f3-a0aa-a1cc2acb9765" providerId="ADAL" clId="{14C079B1-3763-444B-B216-374EF69EE7DF}" dt="2021-07-26T12:56:22.396" v="72787" actId="948"/>
          <ac:spMkLst>
            <pc:docMk/>
            <pc:sldMk cId="3624471454" sldId="9174"/>
            <ac:spMk id="237" creationId="{00D75407-36A9-41C0-A349-F2B11B106B67}"/>
          </ac:spMkLst>
        </pc:spChg>
        <pc:spChg chg="add del mod modVis">
          <ac:chgData name="Wang, David" userId="5ba1598c-ec07-46f3-a0aa-a1cc2acb9765" providerId="ADAL" clId="{14C079B1-3763-444B-B216-374EF69EE7DF}" dt="2021-07-26T11:59:52.913" v="46407"/>
          <ac:spMkLst>
            <pc:docMk/>
            <pc:sldMk cId="3624471454" sldId="9174"/>
            <ac:spMk id="238" creationId="{463E069D-78A7-44D5-B407-90941C237A3D}"/>
          </ac:spMkLst>
        </pc:spChg>
        <pc:spChg chg="mod ord">
          <ac:chgData name="Wang, David" userId="5ba1598c-ec07-46f3-a0aa-a1cc2acb9765" providerId="ADAL" clId="{14C079B1-3763-444B-B216-374EF69EE7DF}" dt="2021-07-26T12:56:22.389" v="72786" actId="948"/>
          <ac:spMkLst>
            <pc:docMk/>
            <pc:sldMk cId="3624471454" sldId="9174"/>
            <ac:spMk id="239" creationId="{868E4D61-135A-4841-BC3C-7F319FA3B516}"/>
          </ac:spMkLst>
        </pc:spChg>
        <pc:spChg chg="mod ord">
          <ac:chgData name="Wang, David" userId="5ba1598c-ec07-46f3-a0aa-a1cc2acb9765" providerId="ADAL" clId="{14C079B1-3763-444B-B216-374EF69EE7DF}" dt="2021-07-26T12:56:22.389" v="72785" actId="948"/>
          <ac:spMkLst>
            <pc:docMk/>
            <pc:sldMk cId="3624471454" sldId="9174"/>
            <ac:spMk id="240" creationId="{5E4913E7-E79E-4644-9964-A8CA09C93DC3}"/>
          </ac:spMkLst>
        </pc:spChg>
        <pc:spChg chg="add del mod modVis">
          <ac:chgData name="Wang, David" userId="5ba1598c-ec07-46f3-a0aa-a1cc2acb9765" providerId="ADAL" clId="{14C079B1-3763-444B-B216-374EF69EE7DF}" dt="2021-07-26T12:03:58.808" v="47969"/>
          <ac:spMkLst>
            <pc:docMk/>
            <pc:sldMk cId="3624471454" sldId="9174"/>
            <ac:spMk id="241" creationId="{2CDB7B17-1F8A-4B94-B8B0-572C68C5AC38}"/>
          </ac:spMkLst>
        </pc:spChg>
        <pc:spChg chg="mod ord">
          <ac:chgData name="Wang, David" userId="5ba1598c-ec07-46f3-a0aa-a1cc2acb9765" providerId="ADAL" clId="{14C079B1-3763-444B-B216-374EF69EE7DF}" dt="2021-07-26T12:56:22.373" v="72784" actId="948"/>
          <ac:spMkLst>
            <pc:docMk/>
            <pc:sldMk cId="3624471454" sldId="9174"/>
            <ac:spMk id="242" creationId="{2E011939-34C4-4D97-BD08-E510277F10B4}"/>
          </ac:spMkLst>
        </pc:spChg>
        <pc:spChg chg="add del mod modVis">
          <ac:chgData name="Wang, David" userId="5ba1598c-ec07-46f3-a0aa-a1cc2acb9765" providerId="ADAL" clId="{14C079B1-3763-444B-B216-374EF69EE7DF}" dt="2021-07-26T12:04:02.883" v="48119"/>
          <ac:spMkLst>
            <pc:docMk/>
            <pc:sldMk cId="3624471454" sldId="9174"/>
            <ac:spMk id="243" creationId="{DF4551AE-273D-4079-A715-A46EEFE18364}"/>
          </ac:spMkLst>
        </pc:spChg>
        <pc:spChg chg="mod ord">
          <ac:chgData name="Wang, David" userId="5ba1598c-ec07-46f3-a0aa-a1cc2acb9765" providerId="ADAL" clId="{14C079B1-3763-444B-B216-374EF69EE7DF}" dt="2021-07-26T12:56:22.373" v="72783" actId="948"/>
          <ac:spMkLst>
            <pc:docMk/>
            <pc:sldMk cId="3624471454" sldId="9174"/>
            <ac:spMk id="244" creationId="{9B4EFBFE-314B-4A11-A41D-673BC0B879B7}"/>
          </ac:spMkLst>
        </pc:spChg>
        <pc:spChg chg="add del mod modVis">
          <ac:chgData name="Wang, David" userId="5ba1598c-ec07-46f3-a0aa-a1cc2acb9765" providerId="ADAL" clId="{14C079B1-3763-444B-B216-374EF69EE7DF}" dt="2021-07-26T12:04:05.003" v="48208"/>
          <ac:spMkLst>
            <pc:docMk/>
            <pc:sldMk cId="3624471454" sldId="9174"/>
            <ac:spMk id="245" creationId="{C1DBEF8D-EC09-4DD0-9321-F7250DF860BA}"/>
          </ac:spMkLst>
        </pc:spChg>
        <pc:spChg chg="mod ord">
          <ac:chgData name="Wang, David" userId="5ba1598c-ec07-46f3-a0aa-a1cc2acb9765" providerId="ADAL" clId="{14C079B1-3763-444B-B216-374EF69EE7DF}" dt="2021-07-26T12:26:19.686" v="58532"/>
          <ac:spMkLst>
            <pc:docMk/>
            <pc:sldMk cId="3624471454" sldId="9174"/>
            <ac:spMk id="246" creationId="{BC42280F-3913-456E-8700-2169439964A1}"/>
          </ac:spMkLst>
        </pc:spChg>
        <pc:spChg chg="add del mod modVis">
          <ac:chgData name="Wang, David" userId="5ba1598c-ec07-46f3-a0aa-a1cc2acb9765" providerId="ADAL" clId="{14C079B1-3763-444B-B216-374EF69EE7DF}" dt="2021-07-26T12:04:05.744" v="48295"/>
          <ac:spMkLst>
            <pc:docMk/>
            <pc:sldMk cId="3624471454" sldId="9174"/>
            <ac:spMk id="247" creationId="{2A3ECC8C-3D74-44D8-A810-5EF47E29190B}"/>
          </ac:spMkLst>
        </pc:spChg>
        <pc:spChg chg="mod ord">
          <ac:chgData name="Wang, David" userId="5ba1598c-ec07-46f3-a0aa-a1cc2acb9765" providerId="ADAL" clId="{14C079B1-3763-444B-B216-374EF69EE7DF}" dt="2021-07-26T12:26:18.669" v="58373"/>
          <ac:spMkLst>
            <pc:docMk/>
            <pc:sldMk cId="3624471454" sldId="9174"/>
            <ac:spMk id="248" creationId="{D0312597-BF10-4F80-AEC1-CC193E5207E0}"/>
          </ac:spMkLst>
        </pc:spChg>
        <pc:spChg chg="add del mod modVis">
          <ac:chgData name="Wang, David" userId="5ba1598c-ec07-46f3-a0aa-a1cc2acb9765" providerId="ADAL" clId="{14C079B1-3763-444B-B216-374EF69EE7DF}" dt="2021-07-26T12:04:07.197" v="48384"/>
          <ac:spMkLst>
            <pc:docMk/>
            <pc:sldMk cId="3624471454" sldId="9174"/>
            <ac:spMk id="249" creationId="{983325A2-B491-4D16-BA28-F8ABA14F8381}"/>
          </ac:spMkLst>
        </pc:spChg>
        <pc:spChg chg="add del mod modVis">
          <ac:chgData name="Wang, David" userId="5ba1598c-ec07-46f3-a0aa-a1cc2acb9765" providerId="ADAL" clId="{14C079B1-3763-444B-B216-374EF69EE7DF}" dt="2021-07-26T12:04:11.121" v="48485"/>
          <ac:spMkLst>
            <pc:docMk/>
            <pc:sldMk cId="3624471454" sldId="9174"/>
            <ac:spMk id="250" creationId="{CFC1FECE-4D79-4D83-94A3-EDAD39EEE9E2}"/>
          </ac:spMkLst>
        </pc:spChg>
        <pc:spChg chg="mod ord">
          <ac:chgData name="Wang, David" userId="5ba1598c-ec07-46f3-a0aa-a1cc2acb9765" providerId="ADAL" clId="{14C079B1-3763-444B-B216-374EF69EE7DF}" dt="2021-07-26T12:26:18.669" v="58377"/>
          <ac:spMkLst>
            <pc:docMk/>
            <pc:sldMk cId="3624471454" sldId="9174"/>
            <ac:spMk id="251" creationId="{70C8A3EB-4CAB-487F-8D02-740C646D03A4}"/>
          </ac:spMkLst>
        </pc:spChg>
        <pc:spChg chg="add del mod modVis">
          <ac:chgData name="Wang, David" userId="5ba1598c-ec07-46f3-a0aa-a1cc2acb9765" providerId="ADAL" clId="{14C079B1-3763-444B-B216-374EF69EE7DF}" dt="2021-07-26T12:04:14.642" v="48600"/>
          <ac:spMkLst>
            <pc:docMk/>
            <pc:sldMk cId="3624471454" sldId="9174"/>
            <ac:spMk id="252" creationId="{37AA9845-13A9-437E-AAC1-9C21F54CC453}"/>
          </ac:spMkLst>
        </pc:spChg>
        <pc:spChg chg="add del mod modVis">
          <ac:chgData name="Wang, David" userId="5ba1598c-ec07-46f3-a0aa-a1cc2acb9765" providerId="ADAL" clId="{14C079B1-3763-444B-B216-374EF69EE7DF}" dt="2021-07-26T12:04:27.387" v="48739"/>
          <ac:spMkLst>
            <pc:docMk/>
            <pc:sldMk cId="3624471454" sldId="9174"/>
            <ac:spMk id="253" creationId="{E780F0E5-5EB3-4F7F-B502-3C43C7C2950E}"/>
          </ac:spMkLst>
        </pc:spChg>
        <pc:spChg chg="mod ord">
          <ac:chgData name="Wang, David" userId="5ba1598c-ec07-46f3-a0aa-a1cc2acb9765" providerId="ADAL" clId="{14C079B1-3763-444B-B216-374EF69EE7DF}" dt="2021-07-26T12:26:19.639" v="58460"/>
          <ac:spMkLst>
            <pc:docMk/>
            <pc:sldMk cId="3624471454" sldId="9174"/>
            <ac:spMk id="254" creationId="{AC2CF6EA-48AD-4D21-A910-9367A16ABFB7}"/>
          </ac:spMkLst>
        </pc:spChg>
        <pc:spChg chg="mod ord">
          <ac:chgData name="Wang, David" userId="5ba1598c-ec07-46f3-a0aa-a1cc2acb9765" providerId="ADAL" clId="{14C079B1-3763-444B-B216-374EF69EE7DF}" dt="2021-07-26T12:56:22.411" v="72793" actId="948"/>
          <ac:spMkLst>
            <pc:docMk/>
            <pc:sldMk cId="3624471454" sldId="9174"/>
            <ac:spMk id="255" creationId="{F2C3088E-C818-46F1-A597-568CECF3BC90}"/>
          </ac:spMkLst>
        </pc:spChg>
        <pc:spChg chg="mod ord">
          <ac:chgData name="Wang, David" userId="5ba1598c-ec07-46f3-a0aa-a1cc2acb9765" providerId="ADAL" clId="{14C079B1-3763-444B-B216-374EF69EE7DF}" dt="2021-07-26T12:56:22.574" v="72841" actId="948"/>
          <ac:spMkLst>
            <pc:docMk/>
            <pc:sldMk cId="3624471454" sldId="9174"/>
            <ac:spMk id="256" creationId="{FCBAEB1D-B232-46D3-B345-8F7A25B0209B}"/>
          </ac:spMkLst>
        </pc:spChg>
        <pc:spChg chg="mod ord">
          <ac:chgData name="Wang, David" userId="5ba1598c-ec07-46f3-a0aa-a1cc2acb9765" providerId="ADAL" clId="{14C079B1-3763-444B-B216-374EF69EE7DF}" dt="2021-07-26T12:56:22.373" v="72782" actId="948"/>
          <ac:spMkLst>
            <pc:docMk/>
            <pc:sldMk cId="3624471454" sldId="9174"/>
            <ac:spMk id="257" creationId="{CB7DE4B1-3F67-4AB6-B205-C6D69AF1D2FC}"/>
          </ac:spMkLst>
        </pc:spChg>
        <pc:spChg chg="mod">
          <ac:chgData name="Wang, David" userId="5ba1598c-ec07-46f3-a0aa-a1cc2acb9765" providerId="ADAL" clId="{14C079B1-3763-444B-B216-374EF69EE7DF}" dt="2021-07-26T12:56:22.358" v="72775"/>
          <ac:spMkLst>
            <pc:docMk/>
            <pc:sldMk cId="3624471454" sldId="9174"/>
            <ac:spMk id="258" creationId="{5F66CDFE-97ED-4C69-A33D-F36F2A5B9ABD}"/>
          </ac:spMkLst>
        </pc:spChg>
        <pc:spChg chg="mod">
          <ac:chgData name="Wang, David" userId="5ba1598c-ec07-46f3-a0aa-a1cc2acb9765" providerId="ADAL" clId="{14C079B1-3763-444B-B216-374EF69EE7DF}" dt="2021-07-26T12:56:22.358" v="72774"/>
          <ac:spMkLst>
            <pc:docMk/>
            <pc:sldMk cId="3624471454" sldId="9174"/>
            <ac:spMk id="259" creationId="{33518107-F264-42AA-8754-34A8FDD5CABD}"/>
          </ac:spMkLst>
        </pc:spChg>
        <pc:spChg chg="add del mod modVis">
          <ac:chgData name="Wang, David" userId="5ba1598c-ec07-46f3-a0aa-a1cc2acb9765" providerId="ADAL" clId="{14C079B1-3763-444B-B216-374EF69EE7DF}" dt="2021-07-26T12:04:29.754" v="48829"/>
          <ac:spMkLst>
            <pc:docMk/>
            <pc:sldMk cId="3624471454" sldId="9174"/>
            <ac:spMk id="260" creationId="{4C4EE413-EC67-438C-A54B-5BC79BAEB061}"/>
          </ac:spMkLst>
        </pc:spChg>
        <pc:spChg chg="add del mod modVis">
          <ac:chgData name="Wang, David" userId="5ba1598c-ec07-46f3-a0aa-a1cc2acb9765" providerId="ADAL" clId="{14C079B1-3763-444B-B216-374EF69EE7DF}" dt="2021-07-26T12:04:30.791" v="48918"/>
          <ac:spMkLst>
            <pc:docMk/>
            <pc:sldMk cId="3624471454" sldId="9174"/>
            <ac:spMk id="261" creationId="{A41F77E1-B5BF-432B-88DE-98D0FF3FA582}"/>
          </ac:spMkLst>
        </pc:spChg>
        <pc:spChg chg="add del mod modVis">
          <ac:chgData name="Wang, David" userId="5ba1598c-ec07-46f3-a0aa-a1cc2acb9765" providerId="ADAL" clId="{14C079B1-3763-444B-B216-374EF69EE7DF}" dt="2021-07-26T12:04:31.591" v="49005"/>
          <ac:spMkLst>
            <pc:docMk/>
            <pc:sldMk cId="3624471454" sldId="9174"/>
            <ac:spMk id="262" creationId="{23DC553D-E44D-46D2-B6EE-C38902EE3941}"/>
          </ac:spMkLst>
        </pc:spChg>
        <pc:spChg chg="mod">
          <ac:chgData name="Wang, David" userId="5ba1598c-ec07-46f3-a0aa-a1cc2acb9765" providerId="ADAL" clId="{14C079B1-3763-444B-B216-374EF69EE7DF}" dt="2021-07-26T12:56:22.358" v="72776"/>
          <ac:spMkLst>
            <pc:docMk/>
            <pc:sldMk cId="3624471454" sldId="9174"/>
            <ac:spMk id="263" creationId="{9FCF0DD1-0DDB-4AE7-87F5-4D48CCEE7AD1}"/>
          </ac:spMkLst>
        </pc:spChg>
        <pc:spChg chg="add del mod modVis">
          <ac:chgData name="Wang, David" userId="5ba1598c-ec07-46f3-a0aa-a1cc2acb9765" providerId="ADAL" clId="{14C079B1-3763-444B-B216-374EF69EE7DF}" dt="2021-07-26T12:04:32.648" v="49092"/>
          <ac:spMkLst>
            <pc:docMk/>
            <pc:sldMk cId="3624471454" sldId="9174"/>
            <ac:spMk id="264" creationId="{E8813C20-851F-4984-A06B-08102EEFCE3E}"/>
          </ac:spMkLst>
        </pc:spChg>
        <pc:spChg chg="mod">
          <ac:chgData name="Wang, David" userId="5ba1598c-ec07-46f3-a0aa-a1cc2acb9765" providerId="ADAL" clId="{14C079B1-3763-444B-B216-374EF69EE7DF}" dt="2021-07-26T12:56:22.342" v="72773"/>
          <ac:spMkLst>
            <pc:docMk/>
            <pc:sldMk cId="3624471454" sldId="9174"/>
            <ac:spMk id="265" creationId="{AAA72468-39D3-4934-8A8F-79EBBA417D58}"/>
          </ac:spMkLst>
        </pc:spChg>
        <pc:spChg chg="add del mod modVis">
          <ac:chgData name="Wang, David" userId="5ba1598c-ec07-46f3-a0aa-a1cc2acb9765" providerId="ADAL" clId="{14C079B1-3763-444B-B216-374EF69EE7DF}" dt="2021-07-26T12:04:34.199" v="49185"/>
          <ac:spMkLst>
            <pc:docMk/>
            <pc:sldMk cId="3624471454" sldId="9174"/>
            <ac:spMk id="266" creationId="{94232A52-C362-4756-BE9F-722E11A39E36}"/>
          </ac:spMkLst>
        </pc:spChg>
        <pc:spChg chg="mod ord">
          <ac:chgData name="Wang, David" userId="5ba1598c-ec07-46f3-a0aa-a1cc2acb9765" providerId="ADAL" clId="{14C079B1-3763-444B-B216-374EF69EE7DF}" dt="2021-07-26T12:56:22.411" v="72792" actId="948"/>
          <ac:spMkLst>
            <pc:docMk/>
            <pc:sldMk cId="3624471454" sldId="9174"/>
            <ac:spMk id="267" creationId="{9EC3B7E3-76FF-4333-8D24-FBA60F55654C}"/>
          </ac:spMkLst>
        </pc:spChg>
        <pc:spChg chg="mod">
          <ac:chgData name="Wang, David" userId="5ba1598c-ec07-46f3-a0aa-a1cc2acb9765" providerId="ADAL" clId="{14C079B1-3763-444B-B216-374EF69EE7DF}" dt="2021-07-26T12:56:22.358" v="72781"/>
          <ac:spMkLst>
            <pc:docMk/>
            <pc:sldMk cId="3624471454" sldId="9174"/>
            <ac:spMk id="268" creationId="{FBC089D4-F0B3-4F8E-89C1-08D531098B84}"/>
          </ac:spMkLst>
        </pc:spChg>
        <pc:spChg chg="add del mod modVis">
          <ac:chgData name="Wang, David" userId="5ba1598c-ec07-46f3-a0aa-a1cc2acb9765" providerId="ADAL" clId="{14C079B1-3763-444B-B216-374EF69EE7DF}" dt="2021-07-26T12:04:45.566" v="49300"/>
          <ac:spMkLst>
            <pc:docMk/>
            <pc:sldMk cId="3624471454" sldId="9174"/>
            <ac:spMk id="269" creationId="{5482484C-CBC9-436B-96FB-C5B8E7F21E56}"/>
          </ac:spMkLst>
        </pc:spChg>
        <pc:spChg chg="add del mod modVis">
          <ac:chgData name="Wang, David" userId="5ba1598c-ec07-46f3-a0aa-a1cc2acb9765" providerId="ADAL" clId="{14C079B1-3763-444B-B216-374EF69EE7DF}" dt="2021-07-26T12:04:46.477" v="49505"/>
          <ac:spMkLst>
            <pc:docMk/>
            <pc:sldMk cId="3624471454" sldId="9174"/>
            <ac:spMk id="270" creationId="{77E4CA14-D453-4765-935A-EE7ED0389CD9}"/>
          </ac:spMkLst>
        </pc:spChg>
        <pc:spChg chg="add del mod modVis">
          <ac:chgData name="Wang, David" userId="5ba1598c-ec07-46f3-a0aa-a1cc2acb9765" providerId="ADAL" clId="{14C079B1-3763-444B-B216-374EF69EE7DF}" dt="2021-07-26T12:04:49.439" v="49710"/>
          <ac:spMkLst>
            <pc:docMk/>
            <pc:sldMk cId="3624471454" sldId="9174"/>
            <ac:spMk id="271" creationId="{87B15213-9261-4F37-A0C0-492B9B53844D}"/>
          </ac:spMkLst>
        </pc:spChg>
        <pc:spChg chg="add del mod modVis">
          <ac:chgData name="Wang, David" userId="5ba1598c-ec07-46f3-a0aa-a1cc2acb9765" providerId="ADAL" clId="{14C079B1-3763-444B-B216-374EF69EE7DF}" dt="2021-07-26T12:04:53.240" v="49797"/>
          <ac:spMkLst>
            <pc:docMk/>
            <pc:sldMk cId="3624471454" sldId="9174"/>
            <ac:spMk id="272" creationId="{C401796F-44D5-4B65-974B-E73694AB8B9E}"/>
          </ac:spMkLst>
        </pc:spChg>
        <pc:spChg chg="add del mod modVis">
          <ac:chgData name="Wang, David" userId="5ba1598c-ec07-46f3-a0aa-a1cc2acb9765" providerId="ADAL" clId="{14C079B1-3763-444B-B216-374EF69EE7DF}" dt="2021-07-26T12:04:54.159" v="49885"/>
          <ac:spMkLst>
            <pc:docMk/>
            <pc:sldMk cId="3624471454" sldId="9174"/>
            <ac:spMk id="273" creationId="{1DA2CD70-6511-4843-845A-8B135741825D}"/>
          </ac:spMkLst>
        </pc:spChg>
        <pc:spChg chg="add del mod modVis">
          <ac:chgData name="Wang, David" userId="5ba1598c-ec07-46f3-a0aa-a1cc2acb9765" providerId="ADAL" clId="{14C079B1-3763-444B-B216-374EF69EE7DF}" dt="2021-07-26T12:04:55.324" v="49976"/>
          <ac:spMkLst>
            <pc:docMk/>
            <pc:sldMk cId="3624471454" sldId="9174"/>
            <ac:spMk id="274" creationId="{8BFF2ED3-69B0-43D2-8B67-DD92F210CB40}"/>
          </ac:spMkLst>
        </pc:spChg>
        <pc:spChg chg="add del mod modVis">
          <ac:chgData name="Wang, David" userId="5ba1598c-ec07-46f3-a0aa-a1cc2acb9765" providerId="ADAL" clId="{14C079B1-3763-444B-B216-374EF69EE7DF}" dt="2021-07-26T12:04:57.866" v="50070"/>
          <ac:spMkLst>
            <pc:docMk/>
            <pc:sldMk cId="3624471454" sldId="9174"/>
            <ac:spMk id="275" creationId="{163D5B73-B079-46EC-A8A6-C91F398712FD}"/>
          </ac:spMkLst>
        </pc:spChg>
        <pc:spChg chg="add del mod modVis">
          <ac:chgData name="Wang, David" userId="5ba1598c-ec07-46f3-a0aa-a1cc2acb9765" providerId="ADAL" clId="{14C079B1-3763-444B-B216-374EF69EE7DF}" dt="2021-07-26T12:08:10.140" v="50962" actId="962"/>
          <ac:spMkLst>
            <pc:docMk/>
            <pc:sldMk cId="3624471454" sldId="9174"/>
            <ac:spMk id="276" creationId="{91C3DAB2-338E-488D-98C6-80D3B5C869F8}"/>
          </ac:spMkLst>
        </pc:spChg>
        <pc:spChg chg="add del mod modVis">
          <ac:chgData name="Wang, David" userId="5ba1598c-ec07-46f3-a0aa-a1cc2acb9765" providerId="ADAL" clId="{14C079B1-3763-444B-B216-374EF69EE7DF}" dt="2021-07-26T12:08:48.261" v="51172"/>
          <ac:spMkLst>
            <pc:docMk/>
            <pc:sldMk cId="3624471454" sldId="9174"/>
            <ac:spMk id="277" creationId="{F5B6778E-E62E-47F4-8E1F-44FF8BB02C7A}"/>
          </ac:spMkLst>
        </pc:spChg>
        <pc:spChg chg="add del mod modVis">
          <ac:chgData name="Wang, David" userId="5ba1598c-ec07-46f3-a0aa-a1cc2acb9765" providerId="ADAL" clId="{14C079B1-3763-444B-B216-374EF69EE7DF}" dt="2021-07-26T12:12:15.960" v="52706"/>
          <ac:spMkLst>
            <pc:docMk/>
            <pc:sldMk cId="3624471454" sldId="9174"/>
            <ac:spMk id="278" creationId="{F7F810EB-3574-4CFA-8A2C-4F88FA22056F}"/>
          </ac:spMkLst>
        </pc:spChg>
        <pc:spChg chg="add del mod modVis">
          <ac:chgData name="Wang, David" userId="5ba1598c-ec07-46f3-a0aa-a1cc2acb9765" providerId="ADAL" clId="{14C079B1-3763-444B-B216-374EF69EE7DF}" dt="2021-07-26T12:12:19.269" v="53046"/>
          <ac:spMkLst>
            <pc:docMk/>
            <pc:sldMk cId="3624471454" sldId="9174"/>
            <ac:spMk id="279" creationId="{7712B80A-3CDF-47DE-BC86-A8E8EDA47CF8}"/>
          </ac:spMkLst>
        </pc:spChg>
        <pc:spChg chg="add del mod modVis">
          <ac:chgData name="Wang, David" userId="5ba1598c-ec07-46f3-a0aa-a1cc2acb9765" providerId="ADAL" clId="{14C079B1-3763-444B-B216-374EF69EE7DF}" dt="2021-07-26T12:12:20.457" v="53136"/>
          <ac:spMkLst>
            <pc:docMk/>
            <pc:sldMk cId="3624471454" sldId="9174"/>
            <ac:spMk id="280" creationId="{E571B584-E856-4A27-BBCB-29830B3E082D}"/>
          </ac:spMkLst>
        </pc:spChg>
        <pc:spChg chg="add del mod modVis">
          <ac:chgData name="Wang, David" userId="5ba1598c-ec07-46f3-a0aa-a1cc2acb9765" providerId="ADAL" clId="{14C079B1-3763-444B-B216-374EF69EE7DF}" dt="2021-07-26T12:12:21.236" v="53224"/>
          <ac:spMkLst>
            <pc:docMk/>
            <pc:sldMk cId="3624471454" sldId="9174"/>
            <ac:spMk id="281" creationId="{918AF0B2-0EF4-41CE-B189-96C0CA07DABB}"/>
          </ac:spMkLst>
        </pc:spChg>
        <pc:spChg chg="add del mod modVis">
          <ac:chgData name="Wang, David" userId="5ba1598c-ec07-46f3-a0aa-a1cc2acb9765" providerId="ADAL" clId="{14C079B1-3763-444B-B216-374EF69EE7DF}" dt="2021-07-26T12:12:24.561" v="53315"/>
          <ac:spMkLst>
            <pc:docMk/>
            <pc:sldMk cId="3624471454" sldId="9174"/>
            <ac:spMk id="282" creationId="{200C2FAE-5DA6-4A84-A0C0-9F289525DDEC}"/>
          </ac:spMkLst>
        </pc:spChg>
        <pc:spChg chg="add del mod modVis">
          <ac:chgData name="Wang, David" userId="5ba1598c-ec07-46f3-a0aa-a1cc2acb9765" providerId="ADAL" clId="{14C079B1-3763-444B-B216-374EF69EE7DF}" dt="2021-07-26T12:25:35.813" v="56586"/>
          <ac:spMkLst>
            <pc:docMk/>
            <pc:sldMk cId="3624471454" sldId="9174"/>
            <ac:spMk id="283" creationId="{9474EB5A-A9EF-426E-AAFE-124772E13A57}"/>
          </ac:spMkLst>
        </pc:spChg>
        <pc:spChg chg="add del mod modVis">
          <ac:chgData name="Wang, David" userId="5ba1598c-ec07-46f3-a0aa-a1cc2acb9765" providerId="ADAL" clId="{14C079B1-3763-444B-B216-374EF69EE7DF}" dt="2021-07-26T12:25:42.351" v="56679"/>
          <ac:spMkLst>
            <pc:docMk/>
            <pc:sldMk cId="3624471454" sldId="9174"/>
            <ac:spMk id="284" creationId="{4D266CD2-C35C-43A0-80BA-3C6DC1372F15}"/>
          </ac:spMkLst>
        </pc:spChg>
        <pc:spChg chg="add del mod modVis">
          <ac:chgData name="Wang, David" userId="5ba1598c-ec07-46f3-a0aa-a1cc2acb9765" providerId="ADAL" clId="{14C079B1-3763-444B-B216-374EF69EE7DF}" dt="2021-07-26T12:25:43.369" v="56767"/>
          <ac:spMkLst>
            <pc:docMk/>
            <pc:sldMk cId="3624471454" sldId="9174"/>
            <ac:spMk id="285" creationId="{7CF62187-566D-4AD2-BA20-A7E2951F7DAD}"/>
          </ac:spMkLst>
        </pc:spChg>
        <pc:spChg chg="add del mod modVis">
          <ac:chgData name="Wang, David" userId="5ba1598c-ec07-46f3-a0aa-a1cc2acb9765" providerId="ADAL" clId="{14C079B1-3763-444B-B216-374EF69EE7DF}" dt="2021-07-26T12:25:44.942" v="56856"/>
          <ac:spMkLst>
            <pc:docMk/>
            <pc:sldMk cId="3624471454" sldId="9174"/>
            <ac:spMk id="286" creationId="{21BC55C8-4041-4E89-8766-BDF71E33251A}"/>
          </ac:spMkLst>
        </pc:spChg>
        <pc:spChg chg="add del mod modVis">
          <ac:chgData name="Wang, David" userId="5ba1598c-ec07-46f3-a0aa-a1cc2acb9765" providerId="ADAL" clId="{14C079B1-3763-444B-B216-374EF69EE7DF}" dt="2021-07-26T12:25:52.862" v="56944"/>
          <ac:spMkLst>
            <pc:docMk/>
            <pc:sldMk cId="3624471454" sldId="9174"/>
            <ac:spMk id="287" creationId="{DB028EB7-7C23-4FF7-AFA5-7E0BB9C04A7C}"/>
          </ac:spMkLst>
        </pc:spChg>
        <pc:spChg chg="mod">
          <ac:chgData name="Wang, David" userId="5ba1598c-ec07-46f3-a0aa-a1cc2acb9765" providerId="ADAL" clId="{14C079B1-3763-444B-B216-374EF69EE7DF}" dt="2021-07-26T12:56:22.358" v="72777"/>
          <ac:spMkLst>
            <pc:docMk/>
            <pc:sldMk cId="3624471454" sldId="9174"/>
            <ac:spMk id="339" creationId="{D9F7A9E1-3F9C-4A03-AAA3-747684AF22E3}"/>
          </ac:spMkLst>
        </pc:spChg>
        <pc:spChg chg="mod">
          <ac:chgData name="Wang, David" userId="5ba1598c-ec07-46f3-a0aa-a1cc2acb9765" providerId="ADAL" clId="{14C079B1-3763-444B-B216-374EF69EE7DF}" dt="2021-07-26T12:56:22.358" v="72779"/>
          <ac:spMkLst>
            <pc:docMk/>
            <pc:sldMk cId="3624471454" sldId="9174"/>
            <ac:spMk id="342" creationId="{0F467244-CA7A-4A24-877B-396FA84F1C88}"/>
          </ac:spMkLst>
        </pc:spChg>
        <pc:spChg chg="del mod ord">
          <ac:chgData name="Wang, David" userId="5ba1598c-ec07-46f3-a0aa-a1cc2acb9765" providerId="ADAL" clId="{14C079B1-3763-444B-B216-374EF69EE7DF}" dt="2021-07-26T11:54:54.588" v="43331"/>
          <ac:spMkLst>
            <pc:docMk/>
            <pc:sldMk cId="3624471454" sldId="9174"/>
            <ac:spMk id="358" creationId="{9952AE17-D2F9-4865-9822-EF61B3E9BDC3}"/>
          </ac:spMkLst>
        </pc:spChg>
        <pc:spChg chg="del mod ord">
          <ac:chgData name="Wang, David" userId="5ba1598c-ec07-46f3-a0aa-a1cc2acb9765" providerId="ADAL" clId="{14C079B1-3763-444B-B216-374EF69EE7DF}" dt="2021-07-26T11:54:56.277" v="43520"/>
          <ac:spMkLst>
            <pc:docMk/>
            <pc:sldMk cId="3624471454" sldId="9174"/>
            <ac:spMk id="366" creationId="{304C8112-65EE-4A21-A6CE-442018859988}"/>
          </ac:spMkLst>
        </pc:spChg>
        <pc:spChg chg="mod ord">
          <ac:chgData name="Wang, David" userId="5ba1598c-ec07-46f3-a0aa-a1cc2acb9765" providerId="ADAL" clId="{14C079B1-3763-444B-B216-374EF69EE7DF}" dt="2021-07-26T12:56:22.411" v="72794" actId="948"/>
          <ac:spMkLst>
            <pc:docMk/>
            <pc:sldMk cId="3624471454" sldId="9174"/>
            <ac:spMk id="372" creationId="{EFA36435-5380-4C48-991C-AE7B756BC452}"/>
          </ac:spMkLst>
        </pc:spChg>
        <pc:spChg chg="mod ord">
          <ac:chgData name="Wang, David" userId="5ba1598c-ec07-46f3-a0aa-a1cc2acb9765" providerId="ADAL" clId="{14C079B1-3763-444B-B216-374EF69EE7DF}" dt="2021-07-26T12:56:22.411" v="72795" actId="948"/>
          <ac:spMkLst>
            <pc:docMk/>
            <pc:sldMk cId="3624471454" sldId="9174"/>
            <ac:spMk id="385" creationId="{C635D15A-8594-457E-993E-C32D27375C5C}"/>
          </ac:spMkLst>
        </pc:spChg>
        <pc:spChg chg="mod ord">
          <ac:chgData name="Wang, David" userId="5ba1598c-ec07-46f3-a0aa-a1cc2acb9765" providerId="ADAL" clId="{14C079B1-3763-444B-B216-374EF69EE7DF}" dt="2021-07-26T12:56:22.396" v="72788" actId="948"/>
          <ac:spMkLst>
            <pc:docMk/>
            <pc:sldMk cId="3624471454" sldId="9174"/>
            <ac:spMk id="388" creationId="{614E70ED-E711-438F-AB77-79B481F3DC7F}"/>
          </ac:spMkLst>
        </pc:spChg>
        <pc:spChg chg="mod ord">
          <ac:chgData name="Wang, David" userId="5ba1598c-ec07-46f3-a0aa-a1cc2acb9765" providerId="ADAL" clId="{14C079B1-3763-444B-B216-374EF69EE7DF}" dt="2021-07-26T12:56:22.396" v="72791" actId="948"/>
          <ac:spMkLst>
            <pc:docMk/>
            <pc:sldMk cId="3624471454" sldId="9174"/>
            <ac:spMk id="393" creationId="{51918F42-E326-44DF-89D3-607911A82439}"/>
          </ac:spMkLst>
        </pc:spChg>
        <pc:spChg chg="mod ord">
          <ac:chgData name="Wang, David" userId="5ba1598c-ec07-46f3-a0aa-a1cc2acb9765" providerId="ADAL" clId="{14C079B1-3763-444B-B216-374EF69EE7DF}" dt="2021-07-26T12:26:18.669" v="58379"/>
          <ac:spMkLst>
            <pc:docMk/>
            <pc:sldMk cId="3624471454" sldId="9174"/>
            <ac:spMk id="395" creationId="{7D596214-EDEE-40FE-8203-54A0F3DC0219}"/>
          </ac:spMkLst>
        </pc:spChg>
        <pc:spChg chg="mod ord">
          <ac:chgData name="Wang, David" userId="5ba1598c-ec07-46f3-a0aa-a1cc2acb9765" providerId="ADAL" clId="{14C079B1-3763-444B-B216-374EF69EE7DF}" dt="2021-07-26T12:56:22.396" v="72789" actId="948"/>
          <ac:spMkLst>
            <pc:docMk/>
            <pc:sldMk cId="3624471454" sldId="9174"/>
            <ac:spMk id="400" creationId="{3715C4A3-DB57-4920-BD34-7F5385061BDB}"/>
          </ac:spMkLst>
        </pc:spChg>
        <pc:spChg chg="mod ord">
          <ac:chgData name="Wang, David" userId="5ba1598c-ec07-46f3-a0aa-a1cc2acb9765" providerId="ADAL" clId="{14C079B1-3763-444B-B216-374EF69EE7DF}" dt="2021-07-26T12:56:22.427" v="72797" actId="948"/>
          <ac:spMkLst>
            <pc:docMk/>
            <pc:sldMk cId="3624471454" sldId="9174"/>
            <ac:spMk id="413" creationId="{A740598C-87FE-4B7E-82F0-6E2253C12C34}"/>
          </ac:spMkLst>
        </pc:spChg>
        <pc:spChg chg="mod ord">
          <ac:chgData name="Wang, David" userId="5ba1598c-ec07-46f3-a0aa-a1cc2acb9765" providerId="ADAL" clId="{14C079B1-3763-444B-B216-374EF69EE7DF}" dt="2021-07-26T12:56:22.558" v="72836" actId="948"/>
          <ac:spMkLst>
            <pc:docMk/>
            <pc:sldMk cId="3624471454" sldId="9174"/>
            <ac:spMk id="427" creationId="{9D443D96-3F84-4C82-B292-297998452DF5}"/>
          </ac:spMkLst>
        </pc:spChg>
        <pc:graphicFrameChg chg="mod ord">
          <ac:chgData name="Wang, David" userId="5ba1598c-ec07-46f3-a0aa-a1cc2acb9765" providerId="ADAL" clId="{14C079B1-3763-444B-B216-374EF69EE7DF}" dt="2021-07-26T12:56:22.674" v="72859"/>
          <ac:graphicFrameMkLst>
            <pc:docMk/>
            <pc:sldMk cId="3624471454" sldId="9174"/>
            <ac:graphicFrameMk id="25" creationId="{B4272582-F9BE-4551-B91E-4987C5505A19}"/>
          </ac:graphicFrameMkLst>
        </pc:graphicFrameChg>
        <pc:picChg chg="add mod ord">
          <ac:chgData name="Wang, David" userId="5ba1598c-ec07-46f3-a0aa-a1cc2acb9765" providerId="ADAL" clId="{14C079B1-3763-444B-B216-374EF69EE7DF}" dt="2021-07-26T12:26:18.685" v="58412"/>
          <ac:picMkLst>
            <pc:docMk/>
            <pc:sldMk cId="3624471454" sldId="9174"/>
            <ac:picMk id="96" creationId="{CD4DEB7C-8285-4BC8-92EC-7F904DDD7285}"/>
          </ac:picMkLst>
        </pc:picChg>
        <pc:picChg chg="add mod ord">
          <ac:chgData name="Wang, David" userId="5ba1598c-ec07-46f3-a0aa-a1cc2acb9765" providerId="ADAL" clId="{14C079B1-3763-444B-B216-374EF69EE7DF}" dt="2021-07-26T12:26:18.685" v="58414"/>
          <ac:picMkLst>
            <pc:docMk/>
            <pc:sldMk cId="3624471454" sldId="9174"/>
            <ac:picMk id="101" creationId="{FF33F0F4-781A-469B-A28C-723254A1C537}"/>
          </ac:picMkLst>
        </pc:picChg>
        <pc:picChg chg="add mod ord">
          <ac:chgData name="Wang, David" userId="5ba1598c-ec07-46f3-a0aa-a1cc2acb9765" providerId="ADAL" clId="{14C079B1-3763-444B-B216-374EF69EE7DF}" dt="2021-07-26T12:26:18.685" v="58416"/>
          <ac:picMkLst>
            <pc:docMk/>
            <pc:sldMk cId="3624471454" sldId="9174"/>
            <ac:picMk id="102" creationId="{3C19AC0E-9A2E-4296-B731-7D3593C49C44}"/>
          </ac:picMkLst>
        </pc:picChg>
        <pc:picChg chg="del mod">
          <ac:chgData name="Wang, David" userId="5ba1598c-ec07-46f3-a0aa-a1cc2acb9765" providerId="ADAL" clId="{14C079B1-3763-444B-B216-374EF69EE7DF}" dt="2021-07-26T11:30:28.657" v="34652" actId="478"/>
          <ac:picMkLst>
            <pc:docMk/>
            <pc:sldMk cId="3624471454" sldId="9174"/>
            <ac:picMk id="344" creationId="{682EC87B-E047-42B9-AD03-95388165659C}"/>
          </ac:picMkLst>
        </pc:picChg>
        <pc:picChg chg="del mod">
          <ac:chgData name="Wang, David" userId="5ba1598c-ec07-46f3-a0aa-a1cc2acb9765" providerId="ADAL" clId="{14C079B1-3763-444B-B216-374EF69EE7DF}" dt="2021-07-26T11:35:14.724" v="39437" actId="478"/>
          <ac:picMkLst>
            <pc:docMk/>
            <pc:sldMk cId="3624471454" sldId="9174"/>
            <ac:picMk id="345" creationId="{B6288E88-D483-4517-9FB3-96B01D47E1F0}"/>
          </ac:picMkLst>
        </pc:picChg>
        <pc:picChg chg="mod">
          <ac:chgData name="Wang, David" userId="5ba1598c-ec07-46f3-a0aa-a1cc2acb9765" providerId="ADAL" clId="{14C079B1-3763-444B-B216-374EF69EE7DF}" dt="2021-07-26T12:29:11.568" v="59026" actId="1076"/>
          <ac:picMkLst>
            <pc:docMk/>
            <pc:sldMk cId="3624471454" sldId="9174"/>
            <ac:picMk id="346" creationId="{8B6346E0-2656-4FDD-B613-FCF3C9B4F3F7}"/>
          </ac:picMkLst>
        </pc:picChg>
        <pc:picChg chg="mod ord">
          <ac:chgData name="Wang, David" userId="5ba1598c-ec07-46f3-a0aa-a1cc2acb9765" providerId="ADAL" clId="{14C079B1-3763-444B-B216-374EF69EE7DF}" dt="2021-07-26T12:26:18.685" v="58410"/>
          <ac:picMkLst>
            <pc:docMk/>
            <pc:sldMk cId="3624471454" sldId="9174"/>
            <ac:picMk id="430" creationId="{81473077-7891-4996-8069-08ACE6FBD883}"/>
          </ac:picMkLst>
        </pc:picChg>
        <pc:cxnChg chg="add mod ord">
          <ac:chgData name="Wang, David" userId="5ba1598c-ec07-46f3-a0aa-a1cc2acb9765" providerId="ADAL" clId="{14C079B1-3763-444B-B216-374EF69EE7DF}" dt="2021-07-26T12:26:19.771" v="58599"/>
          <ac:cxnSpMkLst>
            <pc:docMk/>
            <pc:sldMk cId="3624471454" sldId="9174"/>
            <ac:cxnSpMk id="4" creationId="{4C72A678-3680-4A30-A8B5-F42099603D3D}"/>
          </ac:cxnSpMkLst>
        </pc:cxnChg>
        <pc:cxnChg chg="add del mod ord">
          <ac:chgData name="Wang, David" userId="5ba1598c-ec07-46f3-a0aa-a1cc2acb9765" providerId="ADAL" clId="{14C079B1-3763-444B-B216-374EF69EE7DF}" dt="2021-07-26T11:26:17.875" v="31899"/>
          <ac:cxnSpMkLst>
            <pc:docMk/>
            <pc:sldMk cId="3624471454" sldId="9174"/>
            <ac:cxnSpMk id="6" creationId="{DA623381-8DA1-4A8C-8B25-19AF3F3742C8}"/>
          </ac:cxnSpMkLst>
        </pc:cxnChg>
        <pc:cxnChg chg="add mod ord">
          <ac:chgData name="Wang, David" userId="5ba1598c-ec07-46f3-a0aa-a1cc2acb9765" providerId="ADAL" clId="{14C079B1-3763-444B-B216-374EF69EE7DF}" dt="2021-07-26T12:26:19.771" v="58603"/>
          <ac:cxnSpMkLst>
            <pc:docMk/>
            <pc:sldMk cId="3624471454" sldId="9174"/>
            <ac:cxnSpMk id="8" creationId="{7EA8768A-68D4-43FF-8944-51A5EF336ED2}"/>
          </ac:cxnSpMkLst>
        </pc:cxnChg>
        <pc:cxnChg chg="add mod ord">
          <ac:chgData name="Wang, David" userId="5ba1598c-ec07-46f3-a0aa-a1cc2acb9765" providerId="ADAL" clId="{14C079B1-3763-444B-B216-374EF69EE7DF}" dt="2021-07-26T12:26:19.671" v="58492"/>
          <ac:cxnSpMkLst>
            <pc:docMk/>
            <pc:sldMk cId="3624471454" sldId="9174"/>
            <ac:cxnSpMk id="27" creationId="{9180A853-8A9C-42D5-901B-F481F1CB89C0}"/>
          </ac:cxnSpMkLst>
        </pc:cxnChg>
        <pc:cxnChg chg="add mod ord">
          <ac:chgData name="Wang, David" userId="5ba1598c-ec07-46f3-a0aa-a1cc2acb9765" providerId="ADAL" clId="{14C079B1-3763-444B-B216-374EF69EE7DF}" dt="2021-07-26T12:26:19.755" v="58587" actId="16931"/>
          <ac:cxnSpMkLst>
            <pc:docMk/>
            <pc:sldMk cId="3624471454" sldId="9174"/>
            <ac:cxnSpMk id="75" creationId="{D60AE5B9-69C5-42B9-9B7D-32471A544139}"/>
          </ac:cxnSpMkLst>
        </pc:cxnChg>
        <pc:cxnChg chg="mod ord">
          <ac:chgData name="Wang, David" userId="5ba1598c-ec07-46f3-a0aa-a1cc2acb9765" providerId="ADAL" clId="{14C079B1-3763-444B-B216-374EF69EE7DF}" dt="2021-07-26T12:26:19.740" v="58564"/>
          <ac:cxnSpMkLst>
            <pc:docMk/>
            <pc:sldMk cId="3624471454" sldId="9174"/>
            <ac:cxnSpMk id="219" creationId="{95B708BE-B96A-425B-8F6D-532A98226894}"/>
          </ac:cxnSpMkLst>
        </pc:cxnChg>
        <pc:cxnChg chg="del mod ord">
          <ac:chgData name="Wang, David" userId="5ba1598c-ec07-46f3-a0aa-a1cc2acb9765" providerId="ADAL" clId="{14C079B1-3763-444B-B216-374EF69EE7DF}" dt="2021-07-26T12:26:19.755" v="58578"/>
          <ac:cxnSpMkLst>
            <pc:docMk/>
            <pc:sldMk cId="3624471454" sldId="9174"/>
            <ac:cxnSpMk id="220" creationId="{898C7E80-E672-4890-8A6A-BFB6822CAF10}"/>
          </ac:cxnSpMkLst>
        </pc:cxnChg>
        <pc:cxnChg chg="mod ord">
          <ac:chgData name="Wang, David" userId="5ba1598c-ec07-46f3-a0aa-a1cc2acb9765" providerId="ADAL" clId="{14C079B1-3763-444B-B216-374EF69EE7DF}" dt="2021-07-26T12:26:19.787" v="58611"/>
          <ac:cxnSpMkLst>
            <pc:docMk/>
            <pc:sldMk cId="3624471454" sldId="9174"/>
            <ac:cxnSpMk id="222" creationId="{9E54490D-7710-438E-85CE-90B5E3D97DAB}"/>
          </ac:cxnSpMkLst>
        </pc:cxnChg>
        <pc:cxnChg chg="mod ord">
          <ac:chgData name="Wang, David" userId="5ba1598c-ec07-46f3-a0aa-a1cc2acb9765" providerId="ADAL" clId="{14C079B1-3763-444B-B216-374EF69EE7DF}" dt="2021-07-26T12:26:19.724" v="58560"/>
          <ac:cxnSpMkLst>
            <pc:docMk/>
            <pc:sldMk cId="3624471454" sldId="9174"/>
            <ac:cxnSpMk id="223" creationId="{FE9E4FF0-6F82-407D-BE55-B4BC5E4AE1F8}"/>
          </ac:cxnSpMkLst>
        </pc:cxnChg>
        <pc:cxnChg chg="mod ord">
          <ac:chgData name="Wang, David" userId="5ba1598c-ec07-46f3-a0aa-a1cc2acb9765" providerId="ADAL" clId="{14C079B1-3763-444B-B216-374EF69EE7DF}" dt="2021-07-26T12:26:19.755" v="58591"/>
          <ac:cxnSpMkLst>
            <pc:docMk/>
            <pc:sldMk cId="3624471454" sldId="9174"/>
            <ac:cxnSpMk id="224" creationId="{C821A027-C170-4C7C-AE38-DDE6E5D20B2C}"/>
          </ac:cxnSpMkLst>
        </pc:cxnChg>
        <pc:cxnChg chg="mod ord">
          <ac:chgData name="Wang, David" userId="5ba1598c-ec07-46f3-a0aa-a1cc2acb9765" providerId="ADAL" clId="{14C079B1-3763-444B-B216-374EF69EE7DF}" dt="2021-07-26T12:26:19.787" v="58615"/>
          <ac:cxnSpMkLst>
            <pc:docMk/>
            <pc:sldMk cId="3624471454" sldId="9174"/>
            <ac:cxnSpMk id="225" creationId="{B2892B2A-2DFA-4279-BC51-326F1ECA6795}"/>
          </ac:cxnSpMkLst>
        </pc:cxnChg>
        <pc:cxnChg chg="mod ord">
          <ac:chgData name="Wang, David" userId="5ba1598c-ec07-46f3-a0aa-a1cc2acb9765" providerId="ADAL" clId="{14C079B1-3763-444B-B216-374EF69EE7DF}" dt="2021-07-26T12:26:19.755" v="58576"/>
          <ac:cxnSpMkLst>
            <pc:docMk/>
            <pc:sldMk cId="3624471454" sldId="9174"/>
            <ac:cxnSpMk id="226" creationId="{A61AE575-F2D7-4572-9022-508021FC1CDC}"/>
          </ac:cxnSpMkLst>
        </pc:cxnChg>
        <pc:cxnChg chg="mod ord">
          <ac:chgData name="Wang, David" userId="5ba1598c-ec07-46f3-a0aa-a1cc2acb9765" providerId="ADAL" clId="{14C079B1-3763-444B-B216-374EF69EE7DF}" dt="2021-07-26T12:26:19.724" v="58556"/>
          <ac:cxnSpMkLst>
            <pc:docMk/>
            <pc:sldMk cId="3624471454" sldId="9174"/>
            <ac:cxnSpMk id="227" creationId="{79105BC4-B266-45F3-BB0F-1D89E0F91C29}"/>
          </ac:cxnSpMkLst>
        </pc:cxnChg>
        <pc:cxnChg chg="mod ord">
          <ac:chgData name="Wang, David" userId="5ba1598c-ec07-46f3-a0aa-a1cc2acb9765" providerId="ADAL" clId="{14C079B1-3763-444B-B216-374EF69EE7DF}" dt="2021-07-26T12:26:19.740" v="58568"/>
          <ac:cxnSpMkLst>
            <pc:docMk/>
            <pc:sldMk cId="3624471454" sldId="9174"/>
            <ac:cxnSpMk id="228" creationId="{C8582662-0EB7-477E-AC97-B76DB2CBB0AA}"/>
          </ac:cxnSpMkLst>
        </pc:cxnChg>
        <pc:cxnChg chg="mod ord">
          <ac:chgData name="Wang, David" userId="5ba1598c-ec07-46f3-a0aa-a1cc2acb9765" providerId="ADAL" clId="{14C079B1-3763-444B-B216-374EF69EE7DF}" dt="2021-07-26T12:26:19.771" v="58595"/>
          <ac:cxnSpMkLst>
            <pc:docMk/>
            <pc:sldMk cId="3624471454" sldId="9174"/>
            <ac:cxnSpMk id="229" creationId="{F15A0E99-E5D3-4AE0-9087-11A4A27B91AB}"/>
          </ac:cxnSpMkLst>
        </pc:cxnChg>
        <pc:cxnChg chg="mod ord">
          <ac:chgData name="Wang, David" userId="5ba1598c-ec07-46f3-a0aa-a1cc2acb9765" providerId="ADAL" clId="{14C079B1-3763-444B-B216-374EF69EE7DF}" dt="2021-07-26T12:26:19.771" v="58607"/>
          <ac:cxnSpMkLst>
            <pc:docMk/>
            <pc:sldMk cId="3624471454" sldId="9174"/>
            <ac:cxnSpMk id="230" creationId="{30748805-D537-4C19-82DE-0F236430D07E}"/>
          </ac:cxnSpMkLst>
        </pc:cxnChg>
        <pc:cxnChg chg="mod ord">
          <ac:chgData name="Wang, David" userId="5ba1598c-ec07-46f3-a0aa-a1cc2acb9765" providerId="ADAL" clId="{14C079B1-3763-444B-B216-374EF69EE7DF}" dt="2021-07-26T12:26:19.740" v="58572"/>
          <ac:cxnSpMkLst>
            <pc:docMk/>
            <pc:sldMk cId="3624471454" sldId="9174"/>
            <ac:cxnSpMk id="231" creationId="{CC0B4B24-2B44-44B9-B76B-4F4D34AFE382}"/>
          </ac:cxnSpMkLst>
        </pc:cxnChg>
        <pc:cxnChg chg="mod ord">
          <ac:chgData name="Wang, David" userId="5ba1598c-ec07-46f3-a0aa-a1cc2acb9765" providerId="ADAL" clId="{14C079B1-3763-444B-B216-374EF69EE7DF}" dt="2021-07-26T12:26:18.654" v="58323"/>
          <ac:cxnSpMkLst>
            <pc:docMk/>
            <pc:sldMk cId="3624471454" sldId="9174"/>
            <ac:cxnSpMk id="232" creationId="{69A525BE-CD2C-4A75-9AB7-B49A4949D651}"/>
          </ac:cxnSpMkLst>
        </pc:cxnChg>
        <pc:cxnChg chg="mod ord">
          <ac:chgData name="Wang, David" userId="5ba1598c-ec07-46f3-a0aa-a1cc2acb9765" providerId="ADAL" clId="{14C079B1-3763-444B-B216-374EF69EE7DF}" dt="2021-07-26T12:26:19.787" v="58619"/>
          <ac:cxnSpMkLst>
            <pc:docMk/>
            <pc:sldMk cId="3624471454" sldId="9174"/>
            <ac:cxnSpMk id="233" creationId="{33D8A905-594E-4830-BE4B-358748CAED01}"/>
          </ac:cxnSpMkLst>
        </pc:cxnChg>
        <pc:cxnChg chg="mod ord">
          <ac:chgData name="Wang, David" userId="5ba1598c-ec07-46f3-a0aa-a1cc2acb9765" providerId="ADAL" clId="{14C079B1-3763-444B-B216-374EF69EE7DF}" dt="2021-07-26T12:26:19.639" v="58464"/>
          <ac:cxnSpMkLst>
            <pc:docMk/>
            <pc:sldMk cId="3624471454" sldId="9174"/>
            <ac:cxnSpMk id="234" creationId="{E4896E1D-505E-49CD-A0DA-83350E87DD74}"/>
          </ac:cxnSpMkLst>
        </pc:cxnChg>
        <pc:cxnChg chg="mod ord">
          <ac:chgData name="Wang, David" userId="5ba1598c-ec07-46f3-a0aa-a1cc2acb9765" providerId="ADAL" clId="{14C079B1-3763-444B-B216-374EF69EE7DF}" dt="2021-07-26T12:26:18.654" v="58335"/>
          <ac:cxnSpMkLst>
            <pc:docMk/>
            <pc:sldMk cId="3624471454" sldId="9174"/>
            <ac:cxnSpMk id="235" creationId="{D37401B9-2698-4001-9BB4-F4D4C81B5392}"/>
          </ac:cxnSpMkLst>
        </pc:cxnChg>
        <pc:cxnChg chg="mod ord">
          <ac:chgData name="Wang, David" userId="5ba1598c-ec07-46f3-a0aa-a1cc2acb9765" providerId="ADAL" clId="{14C079B1-3763-444B-B216-374EF69EE7DF}" dt="2021-07-26T12:26:18.654" v="58325"/>
          <ac:cxnSpMkLst>
            <pc:docMk/>
            <pc:sldMk cId="3624471454" sldId="9174"/>
            <ac:cxnSpMk id="338" creationId="{B06B517D-E06E-4F67-8024-C8683B6CF11E}"/>
          </ac:cxnSpMkLst>
        </pc:cxnChg>
        <pc:cxnChg chg="mod ord">
          <ac:chgData name="Wang, David" userId="5ba1598c-ec07-46f3-a0aa-a1cc2acb9765" providerId="ADAL" clId="{14C079B1-3763-444B-B216-374EF69EE7DF}" dt="2021-07-26T12:26:19.671" v="58510"/>
          <ac:cxnSpMkLst>
            <pc:docMk/>
            <pc:sldMk cId="3624471454" sldId="9174"/>
            <ac:cxnSpMk id="341" creationId="{14F49EA6-43D5-4A9E-8417-8F19021A8A2E}"/>
          </ac:cxnSpMkLst>
        </pc:cxnChg>
      </pc:sldChg>
      <pc:sldChg chg="addSp delSp modSp add mod">
        <pc:chgData name="Wang, David" userId="5ba1598c-ec07-46f3-a0aa-a1cc2acb9765" providerId="ADAL" clId="{14C079B1-3763-444B-B216-374EF69EE7DF}" dt="2021-07-26T14:23:33.160" v="83962"/>
        <pc:sldMkLst>
          <pc:docMk/>
          <pc:sldMk cId="527795360" sldId="9177"/>
        </pc:sldMkLst>
        <pc:spChg chg="add del mod modVis">
          <ac:chgData name="Wang, David" userId="5ba1598c-ec07-46f3-a0aa-a1cc2acb9765" providerId="ADAL" clId="{14C079B1-3763-444B-B216-374EF69EE7DF}" dt="2021-07-26T13:31:03.273" v="80812"/>
          <ac:spMkLst>
            <pc:docMk/>
            <pc:sldMk cId="527795360" sldId="9177"/>
            <ac:spMk id="2" creationId="{027687E2-1667-479F-B9E2-2693EA505A99}"/>
          </ac:spMkLst>
        </pc:spChg>
        <pc:spChg chg="add del mod modVis">
          <ac:chgData name="Wang, David" userId="5ba1598c-ec07-46f3-a0aa-a1cc2acb9765" providerId="ADAL" clId="{14C079B1-3763-444B-B216-374EF69EE7DF}" dt="2021-07-26T13:32:57.703" v="82620"/>
          <ac:spMkLst>
            <pc:docMk/>
            <pc:sldMk cId="527795360" sldId="9177"/>
            <ac:spMk id="3" creationId="{96602321-C943-40A9-B516-5CB29EEC279F}"/>
          </ac:spMkLst>
        </pc:spChg>
        <pc:spChg chg="add del mod modVis">
          <ac:chgData name="Wang, David" userId="5ba1598c-ec07-46f3-a0aa-a1cc2acb9765" providerId="ADAL" clId="{14C079B1-3763-444B-B216-374EF69EE7DF}" dt="2021-07-26T13:32:58.721" v="82710"/>
          <ac:spMkLst>
            <pc:docMk/>
            <pc:sldMk cId="527795360" sldId="9177"/>
            <ac:spMk id="4" creationId="{13EDDF37-CC25-491A-8AE2-2069C0C4BF77}"/>
          </ac:spMkLst>
        </pc:spChg>
        <pc:spChg chg="add del mod modVis">
          <ac:chgData name="Wang, David" userId="5ba1598c-ec07-46f3-a0aa-a1cc2acb9765" providerId="ADAL" clId="{14C079B1-3763-444B-B216-374EF69EE7DF}" dt="2021-07-26T13:32:59.793" v="82801"/>
          <ac:spMkLst>
            <pc:docMk/>
            <pc:sldMk cId="527795360" sldId="9177"/>
            <ac:spMk id="5" creationId="{4884538C-C5E5-49C9-A09A-8269E73ECC69}"/>
          </ac:spMkLst>
        </pc:spChg>
        <pc:spChg chg="add del mod modVis">
          <ac:chgData name="Wang, David" userId="5ba1598c-ec07-46f3-a0aa-a1cc2acb9765" providerId="ADAL" clId="{14C079B1-3763-444B-B216-374EF69EE7DF}" dt="2021-07-26T13:33:05.349" v="83073"/>
          <ac:spMkLst>
            <pc:docMk/>
            <pc:sldMk cId="527795360" sldId="9177"/>
            <ac:spMk id="6" creationId="{839BC9EB-5576-4A57-A4BE-E808C4FF25CB}"/>
          </ac:spMkLst>
        </pc:spChg>
        <pc:spChg chg="add del mod modVis">
          <ac:chgData name="Wang, David" userId="5ba1598c-ec07-46f3-a0aa-a1cc2acb9765" providerId="ADAL" clId="{14C079B1-3763-444B-B216-374EF69EE7DF}" dt="2021-07-26T13:33:06.621" v="83163"/>
          <ac:spMkLst>
            <pc:docMk/>
            <pc:sldMk cId="527795360" sldId="9177"/>
            <ac:spMk id="7" creationId="{C3C3A0BC-DD0D-4C04-8C0E-D30AA094A5C5}"/>
          </ac:spMkLst>
        </pc:spChg>
        <pc:spChg chg="add del mod modVis">
          <ac:chgData name="Wang, David" userId="5ba1598c-ec07-46f3-a0aa-a1cc2acb9765" providerId="ADAL" clId="{14C079B1-3763-444B-B216-374EF69EE7DF}" dt="2021-07-26T13:33:08.009" v="83254"/>
          <ac:spMkLst>
            <pc:docMk/>
            <pc:sldMk cId="527795360" sldId="9177"/>
            <ac:spMk id="8" creationId="{3E656857-E2E6-4593-B503-BC0892AF79D4}"/>
          </ac:spMkLst>
        </pc:spChg>
        <pc:spChg chg="mod">
          <ac:chgData name="Wang, David" userId="5ba1598c-ec07-46f3-a0aa-a1cc2acb9765" providerId="ADAL" clId="{14C079B1-3763-444B-B216-374EF69EE7DF}" dt="2021-07-26T13:33:39.828" v="83298"/>
          <ac:spMkLst>
            <pc:docMk/>
            <pc:sldMk cId="527795360" sldId="9177"/>
            <ac:spMk id="9" creationId="{FF9292AF-B235-4804-BF3A-07FAB01A1202}"/>
          </ac:spMkLst>
        </pc:spChg>
        <pc:spChg chg="mod">
          <ac:chgData name="Wang, David" userId="5ba1598c-ec07-46f3-a0aa-a1cc2acb9765" providerId="ADAL" clId="{14C079B1-3763-444B-B216-374EF69EE7DF}" dt="2021-07-26T13:33:39.828" v="83299"/>
          <ac:spMkLst>
            <pc:docMk/>
            <pc:sldMk cId="527795360" sldId="9177"/>
            <ac:spMk id="10" creationId="{3EE93DA3-3DF5-4933-94DE-B6BBCC800669}"/>
          </ac:spMkLst>
        </pc:spChg>
        <pc:spChg chg="mod">
          <ac:chgData name="Wang, David" userId="5ba1598c-ec07-46f3-a0aa-a1cc2acb9765" providerId="ADAL" clId="{14C079B1-3763-444B-B216-374EF69EE7DF}" dt="2021-07-26T13:33:39.828" v="83300"/>
          <ac:spMkLst>
            <pc:docMk/>
            <pc:sldMk cId="527795360" sldId="9177"/>
            <ac:spMk id="11" creationId="{14781716-3A7B-4550-9D7E-D7FF18991C7D}"/>
          </ac:spMkLst>
        </pc:spChg>
        <pc:spChg chg="mod">
          <ac:chgData name="Wang, David" userId="5ba1598c-ec07-46f3-a0aa-a1cc2acb9765" providerId="ADAL" clId="{14C079B1-3763-444B-B216-374EF69EE7DF}" dt="2021-07-26T13:33:39.828" v="83301"/>
          <ac:spMkLst>
            <pc:docMk/>
            <pc:sldMk cId="527795360" sldId="9177"/>
            <ac:spMk id="12" creationId="{DD851D24-F658-47DC-B90E-67FC66F6D073}"/>
          </ac:spMkLst>
        </pc:spChg>
        <pc:spChg chg="mod">
          <ac:chgData name="Wang, David" userId="5ba1598c-ec07-46f3-a0aa-a1cc2acb9765" providerId="ADAL" clId="{14C079B1-3763-444B-B216-374EF69EE7DF}" dt="2021-07-26T13:33:39.843" v="83302"/>
          <ac:spMkLst>
            <pc:docMk/>
            <pc:sldMk cId="527795360" sldId="9177"/>
            <ac:spMk id="13" creationId="{1E6B437D-2C8A-4FEB-8722-EB70DD670181}"/>
          </ac:spMkLst>
        </pc:spChg>
        <pc:spChg chg="mod">
          <ac:chgData name="Wang, David" userId="5ba1598c-ec07-46f3-a0aa-a1cc2acb9765" providerId="ADAL" clId="{14C079B1-3763-444B-B216-374EF69EE7DF}" dt="2021-07-26T13:33:39.843" v="83303"/>
          <ac:spMkLst>
            <pc:docMk/>
            <pc:sldMk cId="527795360" sldId="9177"/>
            <ac:spMk id="14" creationId="{A5ABA1A1-97A9-4B9D-9015-CDF33B35AF84}"/>
          </ac:spMkLst>
        </pc:spChg>
        <pc:spChg chg="mod">
          <ac:chgData name="Wang, David" userId="5ba1598c-ec07-46f3-a0aa-a1cc2acb9765" providerId="ADAL" clId="{14C079B1-3763-444B-B216-374EF69EE7DF}" dt="2021-07-26T13:33:39.843" v="83304"/>
          <ac:spMkLst>
            <pc:docMk/>
            <pc:sldMk cId="527795360" sldId="9177"/>
            <ac:spMk id="15" creationId="{1F939E00-855E-4545-A5D1-B9A4A186CC18}"/>
          </ac:spMkLst>
        </pc:spChg>
        <pc:spChg chg="mod">
          <ac:chgData name="Wang, David" userId="5ba1598c-ec07-46f3-a0aa-a1cc2acb9765" providerId="ADAL" clId="{14C079B1-3763-444B-B216-374EF69EE7DF}" dt="2021-07-26T13:33:39.850" v="83305"/>
          <ac:spMkLst>
            <pc:docMk/>
            <pc:sldMk cId="527795360" sldId="9177"/>
            <ac:spMk id="16" creationId="{47578672-1C62-4357-82C3-F8CA1A1C7786}"/>
          </ac:spMkLst>
        </pc:spChg>
        <pc:spChg chg="mod">
          <ac:chgData name="Wang, David" userId="5ba1598c-ec07-46f3-a0aa-a1cc2acb9765" providerId="ADAL" clId="{14C079B1-3763-444B-B216-374EF69EE7DF}" dt="2021-07-26T13:33:39.850" v="83306"/>
          <ac:spMkLst>
            <pc:docMk/>
            <pc:sldMk cId="527795360" sldId="9177"/>
            <ac:spMk id="17" creationId="{1939CE81-3919-41BF-88A9-A55428316775}"/>
          </ac:spMkLst>
        </pc:spChg>
        <pc:spChg chg="mod">
          <ac:chgData name="Wang, David" userId="5ba1598c-ec07-46f3-a0aa-a1cc2acb9765" providerId="ADAL" clId="{14C079B1-3763-444B-B216-374EF69EE7DF}" dt="2021-07-26T13:33:39.850" v="83307"/>
          <ac:spMkLst>
            <pc:docMk/>
            <pc:sldMk cId="527795360" sldId="9177"/>
            <ac:spMk id="18" creationId="{3596DC0E-566F-47A2-B727-B77BE071765D}"/>
          </ac:spMkLst>
        </pc:spChg>
        <pc:spChg chg="mod">
          <ac:chgData name="Wang, David" userId="5ba1598c-ec07-46f3-a0aa-a1cc2acb9765" providerId="ADAL" clId="{14C079B1-3763-444B-B216-374EF69EE7DF}" dt="2021-07-26T13:33:39.850" v="83308"/>
          <ac:spMkLst>
            <pc:docMk/>
            <pc:sldMk cId="527795360" sldId="9177"/>
            <ac:spMk id="19" creationId="{D151409A-AB22-499D-BF88-35FAC1A799D7}"/>
          </ac:spMkLst>
        </pc:spChg>
        <pc:spChg chg="mod">
          <ac:chgData name="Wang, David" userId="5ba1598c-ec07-46f3-a0aa-a1cc2acb9765" providerId="ADAL" clId="{14C079B1-3763-444B-B216-374EF69EE7DF}" dt="2021-07-26T13:33:39.850" v="83309"/>
          <ac:spMkLst>
            <pc:docMk/>
            <pc:sldMk cId="527795360" sldId="9177"/>
            <ac:spMk id="20" creationId="{BAA36D7C-F8BF-4285-947B-85B6B95F2A7D}"/>
          </ac:spMkLst>
        </pc:spChg>
        <pc:spChg chg="mod">
          <ac:chgData name="Wang, David" userId="5ba1598c-ec07-46f3-a0aa-a1cc2acb9765" providerId="ADAL" clId="{14C079B1-3763-444B-B216-374EF69EE7DF}" dt="2021-07-26T13:33:39.850" v="83310"/>
          <ac:spMkLst>
            <pc:docMk/>
            <pc:sldMk cId="527795360" sldId="9177"/>
            <ac:spMk id="21" creationId="{AA2BF07C-CFCA-4492-950D-B926F1AA46D5}"/>
          </ac:spMkLst>
        </pc:spChg>
        <pc:spChg chg="mod">
          <ac:chgData name="Wang, David" userId="5ba1598c-ec07-46f3-a0aa-a1cc2acb9765" providerId="ADAL" clId="{14C079B1-3763-444B-B216-374EF69EE7DF}" dt="2021-07-26T13:33:39.850" v="83311"/>
          <ac:spMkLst>
            <pc:docMk/>
            <pc:sldMk cId="527795360" sldId="9177"/>
            <ac:spMk id="23" creationId="{CBFDEC41-B7CD-4514-BDB9-326747B384CD}"/>
          </ac:spMkLst>
        </pc:spChg>
        <pc:spChg chg="add del mod modVis">
          <ac:chgData name="Wang, David" userId="5ba1598c-ec07-46f3-a0aa-a1cc2acb9765" providerId="ADAL" clId="{14C079B1-3763-444B-B216-374EF69EE7DF}" dt="2021-07-26T13:33:49.393" v="83353"/>
          <ac:spMkLst>
            <pc:docMk/>
            <pc:sldMk cId="527795360" sldId="9177"/>
            <ac:spMk id="37" creationId="{3A63B3DC-4D64-4390-B99A-3A33513B2132}"/>
          </ac:spMkLst>
        </pc:spChg>
        <pc:spChg chg="mod ord">
          <ac:chgData name="Wang, David" userId="5ba1598c-ec07-46f3-a0aa-a1cc2acb9765" providerId="ADAL" clId="{14C079B1-3763-444B-B216-374EF69EE7DF}" dt="2021-07-26T14:23:33.018" v="83923" actId="948"/>
          <ac:spMkLst>
            <pc:docMk/>
            <pc:sldMk cId="527795360" sldId="9177"/>
            <ac:spMk id="43" creationId="{9612C3F6-9FCF-463B-A09B-1F0967DF8D1D}"/>
          </ac:spMkLst>
        </pc:spChg>
        <pc:spChg chg="add del mod modVis">
          <ac:chgData name="Wang, David" userId="5ba1598c-ec07-46f3-a0aa-a1cc2acb9765" providerId="ADAL" clId="{14C079B1-3763-444B-B216-374EF69EE7DF}" dt="2021-07-26T14:23:33.160" v="83960"/>
          <ac:spMkLst>
            <pc:docMk/>
            <pc:sldMk cId="527795360" sldId="9177"/>
            <ac:spMk id="46" creationId="{8A7A9EEC-EE8A-49AF-859D-B5EF025B512F}"/>
          </ac:spMkLst>
        </pc:spChg>
        <pc:spChg chg="mod ord">
          <ac:chgData name="Wang, David" userId="5ba1598c-ec07-46f3-a0aa-a1cc2acb9765" providerId="ADAL" clId="{14C079B1-3763-444B-B216-374EF69EE7DF}" dt="2021-07-26T13:33:39.696" v="83274" actId="948"/>
          <ac:spMkLst>
            <pc:docMk/>
            <pc:sldMk cId="527795360" sldId="9177"/>
            <ac:spMk id="47" creationId="{A2015832-6C22-4EB7-8A17-3A6633250AC3}"/>
          </ac:spMkLst>
        </pc:spChg>
        <pc:spChg chg="mod ord">
          <ac:chgData name="Wang, David" userId="5ba1598c-ec07-46f3-a0aa-a1cc2acb9765" providerId="ADAL" clId="{14C079B1-3763-444B-B216-374EF69EE7DF}" dt="2021-07-26T13:33:39.681" v="83273" actId="948"/>
          <ac:spMkLst>
            <pc:docMk/>
            <pc:sldMk cId="527795360" sldId="9177"/>
            <ac:spMk id="48" creationId="{202CEB77-3291-4756-B603-B2F24612EB96}"/>
          </ac:spMkLst>
        </pc:spChg>
        <pc:spChg chg="mod ord">
          <ac:chgData name="Wang, David" userId="5ba1598c-ec07-46f3-a0aa-a1cc2acb9765" providerId="ADAL" clId="{14C079B1-3763-444B-B216-374EF69EE7DF}" dt="2021-07-26T13:33:39.681" v="83272" actId="948"/>
          <ac:spMkLst>
            <pc:docMk/>
            <pc:sldMk cId="527795360" sldId="9177"/>
            <ac:spMk id="49" creationId="{E05B9206-1C48-441B-A139-E5825C277585}"/>
          </ac:spMkLst>
        </pc:spChg>
        <pc:spChg chg="mod ord">
          <ac:chgData name="Wang, David" userId="5ba1598c-ec07-46f3-a0aa-a1cc2acb9765" providerId="ADAL" clId="{14C079B1-3763-444B-B216-374EF69EE7DF}" dt="2021-07-26T13:33:39.696" v="83277" actId="948"/>
          <ac:spMkLst>
            <pc:docMk/>
            <pc:sldMk cId="527795360" sldId="9177"/>
            <ac:spMk id="50" creationId="{D3FA93A2-3222-4733-A648-ECB2F1C27E77}"/>
          </ac:spMkLst>
        </pc:spChg>
        <pc:spChg chg="mod ord">
          <ac:chgData name="Wang, David" userId="5ba1598c-ec07-46f3-a0aa-a1cc2acb9765" providerId="ADAL" clId="{14C079B1-3763-444B-B216-374EF69EE7DF}" dt="2021-07-26T13:33:39.750" v="83291" actId="948"/>
          <ac:spMkLst>
            <pc:docMk/>
            <pc:sldMk cId="527795360" sldId="9177"/>
            <ac:spMk id="51" creationId="{77F2ED03-FE25-47E5-97E8-7F9B3413C68A}"/>
          </ac:spMkLst>
        </pc:spChg>
        <pc:spChg chg="mod ord">
          <ac:chgData name="Wang, David" userId="5ba1598c-ec07-46f3-a0aa-a1cc2acb9765" providerId="ADAL" clId="{14C079B1-3763-444B-B216-374EF69EE7DF}" dt="2021-07-26T13:33:39.681" v="83271" actId="948"/>
          <ac:spMkLst>
            <pc:docMk/>
            <pc:sldMk cId="527795360" sldId="9177"/>
            <ac:spMk id="52" creationId="{EAD0374B-9DFA-4C79-928A-7FEC3B28D9F3}"/>
          </ac:spMkLst>
        </pc:spChg>
        <pc:spChg chg="mod ord">
          <ac:chgData name="Wang, David" userId="5ba1598c-ec07-46f3-a0aa-a1cc2acb9765" providerId="ADAL" clId="{14C079B1-3763-444B-B216-374EF69EE7DF}" dt="2021-07-26T13:33:39.743" v="83289" actId="948"/>
          <ac:spMkLst>
            <pc:docMk/>
            <pc:sldMk cId="527795360" sldId="9177"/>
            <ac:spMk id="53" creationId="{3DE20BD6-4081-4A1B-A8D8-B69CD35EF003}"/>
          </ac:spMkLst>
        </pc:spChg>
        <pc:spChg chg="mod ord">
          <ac:chgData name="Wang, David" userId="5ba1598c-ec07-46f3-a0aa-a1cc2acb9765" providerId="ADAL" clId="{14C079B1-3763-444B-B216-374EF69EE7DF}" dt="2021-07-26T13:33:39.696" v="83276" actId="948"/>
          <ac:spMkLst>
            <pc:docMk/>
            <pc:sldMk cId="527795360" sldId="9177"/>
            <ac:spMk id="54" creationId="{2F07B020-E777-49FC-9A7F-6B78FEF94FFD}"/>
          </ac:spMkLst>
        </pc:spChg>
        <pc:spChg chg="del mod ord">
          <ac:chgData name="Wang, David" userId="5ba1598c-ec07-46f3-a0aa-a1cc2acb9765" providerId="ADAL" clId="{14C079B1-3763-444B-B216-374EF69EE7DF}" dt="2021-07-26T13:31:25.203" v="81158"/>
          <ac:spMkLst>
            <pc:docMk/>
            <pc:sldMk cId="527795360" sldId="9177"/>
            <ac:spMk id="55" creationId="{8637B54F-BF19-4F8C-BDCD-A62DCA3589E5}"/>
          </ac:spMkLst>
        </pc:spChg>
        <pc:spChg chg="mod ord">
          <ac:chgData name="Wang, David" userId="5ba1598c-ec07-46f3-a0aa-a1cc2acb9765" providerId="ADAL" clId="{14C079B1-3763-444B-B216-374EF69EE7DF}" dt="2021-07-26T13:33:39.696" v="83275" actId="948"/>
          <ac:spMkLst>
            <pc:docMk/>
            <pc:sldMk cId="527795360" sldId="9177"/>
            <ac:spMk id="56" creationId="{3471D0F2-6E36-43C3-869B-398D0227A30B}"/>
          </ac:spMkLst>
        </pc:spChg>
        <pc:spChg chg="mod ord">
          <ac:chgData name="Wang, David" userId="5ba1598c-ec07-46f3-a0aa-a1cc2acb9765" providerId="ADAL" clId="{14C079B1-3763-444B-B216-374EF69EE7DF}" dt="2021-07-26T13:33:39.681" v="83269" actId="948"/>
          <ac:spMkLst>
            <pc:docMk/>
            <pc:sldMk cId="527795360" sldId="9177"/>
            <ac:spMk id="57" creationId="{D0D60C88-76F8-46EC-B09D-0D631C8618F5}"/>
          </ac:spMkLst>
        </pc:spChg>
        <pc:spChg chg="mod ord">
          <ac:chgData name="Wang, David" userId="5ba1598c-ec07-46f3-a0aa-a1cc2acb9765" providerId="ADAL" clId="{14C079B1-3763-444B-B216-374EF69EE7DF}" dt="2021-07-26T13:33:39.743" v="83290" actId="948"/>
          <ac:spMkLst>
            <pc:docMk/>
            <pc:sldMk cId="527795360" sldId="9177"/>
            <ac:spMk id="58" creationId="{D7704228-8A91-4D4D-BE15-6FADFD5AB6F3}"/>
          </ac:spMkLst>
        </pc:spChg>
        <pc:spChg chg="del mod ord">
          <ac:chgData name="Wang, David" userId="5ba1598c-ec07-46f3-a0aa-a1cc2acb9765" providerId="ADAL" clId="{14C079B1-3763-444B-B216-374EF69EE7DF}" dt="2021-07-26T13:31:28.142" v="81346"/>
          <ac:spMkLst>
            <pc:docMk/>
            <pc:sldMk cId="527795360" sldId="9177"/>
            <ac:spMk id="59" creationId="{0150DBFD-AD85-4707-8C3C-94B641BF96D8}"/>
          </ac:spMkLst>
        </pc:spChg>
        <pc:spChg chg="mod ord">
          <ac:chgData name="Wang, David" userId="5ba1598c-ec07-46f3-a0aa-a1cc2acb9765" providerId="ADAL" clId="{14C079B1-3763-444B-B216-374EF69EE7DF}" dt="2021-07-26T13:33:39.728" v="83288" actId="948"/>
          <ac:spMkLst>
            <pc:docMk/>
            <pc:sldMk cId="527795360" sldId="9177"/>
            <ac:spMk id="60" creationId="{D3766022-AB35-4BD2-9010-3B57AE2AA44E}"/>
          </ac:spMkLst>
        </pc:spChg>
        <pc:spChg chg="mod ord">
          <ac:chgData name="Wang, David" userId="5ba1598c-ec07-46f3-a0aa-a1cc2acb9765" providerId="ADAL" clId="{14C079B1-3763-444B-B216-374EF69EE7DF}" dt="2021-07-26T13:33:39.712" v="83282" actId="948"/>
          <ac:spMkLst>
            <pc:docMk/>
            <pc:sldMk cId="527795360" sldId="9177"/>
            <ac:spMk id="61" creationId="{0D57010F-0BC1-41D4-9DEA-B29378BFF630}"/>
          </ac:spMkLst>
        </pc:spChg>
        <pc:spChg chg="mod ord">
          <ac:chgData name="Wang, David" userId="5ba1598c-ec07-46f3-a0aa-a1cc2acb9765" providerId="ADAL" clId="{14C079B1-3763-444B-B216-374EF69EE7DF}" dt="2021-07-26T13:33:39.728" v="83284" actId="948"/>
          <ac:spMkLst>
            <pc:docMk/>
            <pc:sldMk cId="527795360" sldId="9177"/>
            <ac:spMk id="62" creationId="{EC3ECDAC-177E-4E33-B4C5-10F127952691}"/>
          </ac:spMkLst>
        </pc:spChg>
        <pc:spChg chg="del mod">
          <ac:chgData name="Wang, David" userId="5ba1598c-ec07-46f3-a0aa-a1cc2acb9765" providerId="ADAL" clId="{14C079B1-3763-444B-B216-374EF69EE7DF}" dt="2021-07-26T13:31:23.051" v="80937"/>
          <ac:spMkLst>
            <pc:docMk/>
            <pc:sldMk cId="527795360" sldId="9177"/>
            <ac:spMk id="63" creationId="{DD67DD56-5207-419B-B4F7-48404B324EAF}"/>
          </ac:spMkLst>
        </pc:spChg>
        <pc:spChg chg="mod ord">
          <ac:chgData name="Wang, David" userId="5ba1598c-ec07-46f3-a0aa-a1cc2acb9765" providerId="ADAL" clId="{14C079B1-3763-444B-B216-374EF69EE7DF}" dt="2021-07-26T13:33:39.712" v="83281" actId="948"/>
          <ac:spMkLst>
            <pc:docMk/>
            <pc:sldMk cId="527795360" sldId="9177"/>
            <ac:spMk id="64" creationId="{76458135-EAF0-45F3-9BB9-05F48FCD7D84}"/>
          </ac:spMkLst>
        </pc:spChg>
        <pc:spChg chg="mod ord">
          <ac:chgData name="Wang, David" userId="5ba1598c-ec07-46f3-a0aa-a1cc2acb9765" providerId="ADAL" clId="{14C079B1-3763-444B-B216-374EF69EE7DF}" dt="2021-07-26T13:31:54.777" v="82101"/>
          <ac:spMkLst>
            <pc:docMk/>
            <pc:sldMk cId="527795360" sldId="9177"/>
            <ac:spMk id="65" creationId="{AC8C2E4E-089A-4EE0-ABF7-F9737A88EBEB}"/>
          </ac:spMkLst>
        </pc:spChg>
        <pc:spChg chg="mod ord">
          <ac:chgData name="Wang, David" userId="5ba1598c-ec07-46f3-a0aa-a1cc2acb9765" providerId="ADAL" clId="{14C079B1-3763-444B-B216-374EF69EE7DF}" dt="2021-07-26T13:33:05.186" v="82986"/>
          <ac:spMkLst>
            <pc:docMk/>
            <pc:sldMk cId="527795360" sldId="9177"/>
            <ac:spMk id="66" creationId="{170ECB66-5177-47C1-B18E-32DD8F20CC2D}"/>
          </ac:spMkLst>
        </pc:spChg>
        <pc:spChg chg="mod ord">
          <ac:chgData name="Wang, David" userId="5ba1598c-ec07-46f3-a0aa-a1cc2acb9765" providerId="ADAL" clId="{14C079B1-3763-444B-B216-374EF69EE7DF}" dt="2021-07-26T13:31:54.755" v="82085"/>
          <ac:spMkLst>
            <pc:docMk/>
            <pc:sldMk cId="527795360" sldId="9177"/>
            <ac:spMk id="67" creationId="{0CA92E9F-A06D-406B-9151-7A35A8C3E52B}"/>
          </ac:spMkLst>
        </pc:spChg>
        <pc:spChg chg="mod ord">
          <ac:chgData name="Wang, David" userId="5ba1598c-ec07-46f3-a0aa-a1cc2acb9765" providerId="ADAL" clId="{14C079B1-3763-444B-B216-374EF69EE7DF}" dt="2021-07-26T13:31:54.739" v="82069"/>
          <ac:spMkLst>
            <pc:docMk/>
            <pc:sldMk cId="527795360" sldId="9177"/>
            <ac:spMk id="68" creationId="{779DA0E9-5714-4C0F-9283-96F4D522E871}"/>
          </ac:spMkLst>
        </pc:spChg>
        <pc:spChg chg="mod ord">
          <ac:chgData name="Wang, David" userId="5ba1598c-ec07-46f3-a0aa-a1cc2acb9765" providerId="ADAL" clId="{14C079B1-3763-444B-B216-374EF69EE7DF}" dt="2021-07-26T13:33:05.033" v="82888"/>
          <ac:spMkLst>
            <pc:docMk/>
            <pc:sldMk cId="527795360" sldId="9177"/>
            <ac:spMk id="69" creationId="{F50DA790-814B-4194-A38E-73637BE49CF9}"/>
          </ac:spMkLst>
        </pc:spChg>
        <pc:spChg chg="mod ord">
          <ac:chgData name="Wang, David" userId="5ba1598c-ec07-46f3-a0aa-a1cc2acb9765" providerId="ADAL" clId="{14C079B1-3763-444B-B216-374EF69EE7DF}" dt="2021-07-26T13:33:05.171" v="82978"/>
          <ac:spMkLst>
            <pc:docMk/>
            <pc:sldMk cId="527795360" sldId="9177"/>
            <ac:spMk id="70" creationId="{85CEFF52-6291-49C8-83BD-BD525AB39BF9}"/>
          </ac:spMkLst>
        </pc:spChg>
        <pc:spChg chg="mod ord">
          <ac:chgData name="Wang, David" userId="5ba1598c-ec07-46f3-a0aa-a1cc2acb9765" providerId="ADAL" clId="{14C079B1-3763-444B-B216-374EF69EE7DF}" dt="2021-07-26T13:33:05.086" v="82918"/>
          <ac:spMkLst>
            <pc:docMk/>
            <pc:sldMk cId="527795360" sldId="9177"/>
            <ac:spMk id="71" creationId="{6A8DD84A-2AF1-4005-B711-CF57B0EA527B}"/>
          </ac:spMkLst>
        </pc:spChg>
        <pc:spChg chg="mod">
          <ac:chgData name="Wang, David" userId="5ba1598c-ec07-46f3-a0aa-a1cc2acb9765" providerId="ADAL" clId="{14C079B1-3763-444B-B216-374EF69EE7DF}" dt="2021-07-26T13:33:39.828" v="83297"/>
          <ac:spMkLst>
            <pc:docMk/>
            <pc:sldMk cId="527795360" sldId="9177"/>
            <ac:spMk id="72" creationId="{6D3522EE-F3E7-4C06-A4E5-66E7E6325BCC}"/>
          </ac:spMkLst>
        </pc:spChg>
        <pc:spChg chg="mod ord">
          <ac:chgData name="Wang, David" userId="5ba1598c-ec07-46f3-a0aa-a1cc2acb9765" providerId="ADAL" clId="{14C079B1-3763-444B-B216-374EF69EE7DF}" dt="2021-07-26T13:33:39.712" v="83279" actId="948"/>
          <ac:spMkLst>
            <pc:docMk/>
            <pc:sldMk cId="527795360" sldId="9177"/>
            <ac:spMk id="73" creationId="{54162FF7-C578-4992-9F1D-46424A8C227C}"/>
          </ac:spMkLst>
        </pc:spChg>
        <pc:spChg chg="mod ord">
          <ac:chgData name="Wang, David" userId="5ba1598c-ec07-46f3-a0aa-a1cc2acb9765" providerId="ADAL" clId="{14C079B1-3763-444B-B216-374EF69EE7DF}" dt="2021-07-26T13:33:39.665" v="83268" actId="948"/>
          <ac:spMkLst>
            <pc:docMk/>
            <pc:sldMk cId="527795360" sldId="9177"/>
            <ac:spMk id="74" creationId="{175B14BF-6C1D-440D-80C0-446823CE9961}"/>
          </ac:spMkLst>
        </pc:spChg>
        <pc:spChg chg="mod">
          <ac:chgData name="Wang, David" userId="5ba1598c-ec07-46f3-a0aa-a1cc2acb9765" providerId="ADAL" clId="{14C079B1-3763-444B-B216-374EF69EE7DF}" dt="2021-07-26T13:33:39.665" v="83266"/>
          <ac:spMkLst>
            <pc:docMk/>
            <pc:sldMk cId="527795360" sldId="9177"/>
            <ac:spMk id="75" creationId="{6A0CE5E6-EBD3-4F0E-80E4-698B0E2FBF73}"/>
          </ac:spMkLst>
        </pc:spChg>
        <pc:spChg chg="mod">
          <ac:chgData name="Wang, David" userId="5ba1598c-ec07-46f3-a0aa-a1cc2acb9765" providerId="ADAL" clId="{14C079B1-3763-444B-B216-374EF69EE7DF}" dt="2021-07-26T13:33:39.665" v="83265"/>
          <ac:spMkLst>
            <pc:docMk/>
            <pc:sldMk cId="527795360" sldId="9177"/>
            <ac:spMk id="76" creationId="{44AF42FA-7D2B-4628-814F-F8320941F9A8}"/>
          </ac:spMkLst>
        </pc:spChg>
        <pc:spChg chg="del mod">
          <ac:chgData name="Wang, David" userId="5ba1598c-ec07-46f3-a0aa-a1cc2acb9765" providerId="ADAL" clId="{14C079B1-3763-444B-B216-374EF69EE7DF}" dt="2021-07-26T13:31:21.548" v="80879"/>
          <ac:spMkLst>
            <pc:docMk/>
            <pc:sldMk cId="527795360" sldId="9177"/>
            <ac:spMk id="77" creationId="{ED5CAD7E-D9D2-4A25-BAFD-7986A96F6BFF}"/>
          </ac:spMkLst>
        </pc:spChg>
        <pc:spChg chg="mod ord">
          <ac:chgData name="Wang, David" userId="5ba1598c-ec07-46f3-a0aa-a1cc2acb9765" providerId="ADAL" clId="{14C079B1-3763-444B-B216-374EF69EE7DF}" dt="2021-07-26T13:33:39.712" v="83280" actId="948"/>
          <ac:spMkLst>
            <pc:docMk/>
            <pc:sldMk cId="527795360" sldId="9177"/>
            <ac:spMk id="78" creationId="{5809AACF-F5D2-4D6F-89BF-61C2001FEB70}"/>
          </ac:spMkLst>
        </pc:spChg>
        <pc:spChg chg="mod ord">
          <ac:chgData name="Wang, David" userId="5ba1598c-ec07-46f3-a0aa-a1cc2acb9765" providerId="ADAL" clId="{14C079B1-3763-444B-B216-374EF69EE7DF}" dt="2021-07-26T13:33:39.750" v="83293" actId="948"/>
          <ac:spMkLst>
            <pc:docMk/>
            <pc:sldMk cId="527795360" sldId="9177"/>
            <ac:spMk id="79" creationId="{509D50B4-59CE-40E9-B457-846B84B8FDE9}"/>
          </ac:spMkLst>
        </pc:spChg>
        <pc:spChg chg="mod">
          <ac:chgData name="Wang, David" userId="5ba1598c-ec07-46f3-a0aa-a1cc2acb9765" providerId="ADAL" clId="{14C079B1-3763-444B-B216-374EF69EE7DF}" dt="2021-07-26T13:33:39.665" v="83267"/>
          <ac:spMkLst>
            <pc:docMk/>
            <pc:sldMk cId="527795360" sldId="9177"/>
            <ac:spMk id="80" creationId="{A4D7374B-2C23-4273-A398-91DDE9F03672}"/>
          </ac:spMkLst>
        </pc:spChg>
        <pc:spChg chg="mod ord">
          <ac:chgData name="Wang, David" userId="5ba1598c-ec07-46f3-a0aa-a1cc2acb9765" providerId="ADAL" clId="{14C079B1-3763-444B-B216-374EF69EE7DF}" dt="2021-07-26T13:33:39.750" v="83292" actId="948"/>
          <ac:spMkLst>
            <pc:docMk/>
            <pc:sldMk cId="527795360" sldId="9177"/>
            <ac:spMk id="81" creationId="{B85F7E2B-CFCA-4445-B16B-6B64CB34FCF9}"/>
          </ac:spMkLst>
        </pc:spChg>
        <pc:spChg chg="mod ord">
          <ac:chgData name="Wang, David" userId="5ba1598c-ec07-46f3-a0aa-a1cc2acb9765" providerId="ADAL" clId="{14C079B1-3763-444B-B216-374EF69EE7DF}" dt="2021-07-26T13:33:39.696" v="83278" actId="948"/>
          <ac:spMkLst>
            <pc:docMk/>
            <pc:sldMk cId="527795360" sldId="9177"/>
            <ac:spMk id="82" creationId="{A33EA51A-7B3A-4FC8-97AC-69A42040ADF8}"/>
          </ac:spMkLst>
        </pc:spChg>
        <pc:spChg chg="mod">
          <ac:chgData name="Wang, David" userId="5ba1598c-ec07-46f3-a0aa-a1cc2acb9765" providerId="ADAL" clId="{14C079B1-3763-444B-B216-374EF69EE7DF}" dt="2021-07-26T13:33:39.649" v="83263"/>
          <ac:spMkLst>
            <pc:docMk/>
            <pc:sldMk cId="527795360" sldId="9177"/>
            <ac:spMk id="83" creationId="{772A4F77-564E-457A-90EF-A16AC96C196C}"/>
          </ac:spMkLst>
        </pc:spChg>
        <pc:spChg chg="mod">
          <ac:chgData name="Wang, David" userId="5ba1598c-ec07-46f3-a0aa-a1cc2acb9765" providerId="ADAL" clId="{14C079B1-3763-444B-B216-374EF69EE7DF}" dt="2021-07-26T13:33:39.649" v="83262"/>
          <ac:spMkLst>
            <pc:docMk/>
            <pc:sldMk cId="527795360" sldId="9177"/>
            <ac:spMk id="84" creationId="{1D104F53-9839-422F-BCBA-B8476B3FE58B}"/>
          </ac:spMkLst>
        </pc:spChg>
        <pc:spChg chg="mod">
          <ac:chgData name="Wang, David" userId="5ba1598c-ec07-46f3-a0aa-a1cc2acb9765" providerId="ADAL" clId="{14C079B1-3763-444B-B216-374EF69EE7DF}" dt="2021-07-26T13:33:39.649" v="83264"/>
          <ac:spMkLst>
            <pc:docMk/>
            <pc:sldMk cId="527795360" sldId="9177"/>
            <ac:spMk id="85" creationId="{CD758341-5BBD-4B50-A9E1-2EBF852447D9}"/>
          </ac:spMkLst>
        </pc:spChg>
        <pc:spChg chg="mod">
          <ac:chgData name="Wang, David" userId="5ba1598c-ec07-46f3-a0aa-a1cc2acb9765" providerId="ADAL" clId="{14C079B1-3763-444B-B216-374EF69EE7DF}" dt="2021-07-26T13:33:39.649" v="83261"/>
          <ac:spMkLst>
            <pc:docMk/>
            <pc:sldMk cId="527795360" sldId="9177"/>
            <ac:spMk id="86" creationId="{2036FF84-E471-4CB9-B777-6B6879D81FA5}"/>
          </ac:spMkLst>
        </pc:spChg>
        <pc:spChg chg="mod ord">
          <ac:chgData name="Wang, David" userId="5ba1598c-ec07-46f3-a0aa-a1cc2acb9765" providerId="ADAL" clId="{14C079B1-3763-444B-B216-374EF69EE7DF}" dt="2021-07-26T13:33:39.712" v="83283" actId="948"/>
          <ac:spMkLst>
            <pc:docMk/>
            <pc:sldMk cId="527795360" sldId="9177"/>
            <ac:spMk id="87" creationId="{FC06A9A2-7C32-4A9B-96C6-90B5CC7CEDD5}"/>
          </ac:spMkLst>
        </pc:spChg>
        <pc:spChg chg="mod">
          <ac:chgData name="Wang, David" userId="5ba1598c-ec07-46f3-a0aa-a1cc2acb9765" providerId="ADAL" clId="{14C079B1-3763-444B-B216-374EF69EE7DF}" dt="2021-07-26T13:33:39.850" v="83312"/>
          <ac:spMkLst>
            <pc:docMk/>
            <pc:sldMk cId="527795360" sldId="9177"/>
            <ac:spMk id="88" creationId="{4B2F6ECA-3DC1-4B7E-B41F-F10054EE5545}"/>
          </ac:spMkLst>
        </pc:spChg>
        <pc:spChg chg="mod ord">
          <ac:chgData name="Wang, David" userId="5ba1598c-ec07-46f3-a0aa-a1cc2acb9765" providerId="ADAL" clId="{14C079B1-3763-444B-B216-374EF69EE7DF}" dt="2021-07-26T13:33:39.681" v="83270" actId="948"/>
          <ac:spMkLst>
            <pc:docMk/>
            <pc:sldMk cId="527795360" sldId="9177"/>
            <ac:spMk id="103" creationId="{B6F2E3C9-5A91-46B0-9601-E545402709F3}"/>
          </ac:spMkLst>
        </pc:spChg>
        <pc:spChg chg="mod ord">
          <ac:chgData name="Wang, David" userId="5ba1598c-ec07-46f3-a0aa-a1cc2acb9765" providerId="ADAL" clId="{14C079B1-3763-444B-B216-374EF69EE7DF}" dt="2021-07-26T13:33:39.728" v="83286" actId="948"/>
          <ac:spMkLst>
            <pc:docMk/>
            <pc:sldMk cId="527795360" sldId="9177"/>
            <ac:spMk id="136" creationId="{A52C381E-E440-4EB7-A655-A5267A1DB525}"/>
          </ac:spMkLst>
        </pc:spChg>
        <pc:spChg chg="mod ord">
          <ac:chgData name="Wang, David" userId="5ba1598c-ec07-46f3-a0aa-a1cc2acb9765" providerId="ADAL" clId="{14C079B1-3763-444B-B216-374EF69EE7DF}" dt="2021-07-26T13:33:05.117" v="82940"/>
          <ac:spMkLst>
            <pc:docMk/>
            <pc:sldMk cId="527795360" sldId="9177"/>
            <ac:spMk id="138" creationId="{54E6A56B-A12B-4533-8B43-4D6B2E60D71E}"/>
          </ac:spMkLst>
        </pc:spChg>
        <pc:spChg chg="del mod ord">
          <ac:chgData name="Wang, David" userId="5ba1598c-ec07-46f3-a0aa-a1cc2acb9765" providerId="ADAL" clId="{14C079B1-3763-444B-B216-374EF69EE7DF}" dt="2021-07-26T13:31:30.085" v="81527"/>
          <ac:spMkLst>
            <pc:docMk/>
            <pc:sldMk cId="527795360" sldId="9177"/>
            <ac:spMk id="143" creationId="{05FF28C0-E132-44C7-B5D9-4717E85D155E}"/>
          </ac:spMkLst>
        </pc:spChg>
        <pc:spChg chg="del mod ord">
          <ac:chgData name="Wang, David" userId="5ba1598c-ec07-46f3-a0aa-a1cc2acb9765" providerId="ADAL" clId="{14C079B1-3763-444B-B216-374EF69EE7DF}" dt="2021-07-26T13:31:30.085" v="81525"/>
          <ac:spMkLst>
            <pc:docMk/>
            <pc:sldMk cId="527795360" sldId="9177"/>
            <ac:spMk id="145" creationId="{AE2FD692-9EC1-4E2E-91E6-CB5902F17FDB}"/>
          </ac:spMkLst>
        </pc:spChg>
        <pc:spChg chg="mod ord">
          <ac:chgData name="Wang, David" userId="5ba1598c-ec07-46f3-a0aa-a1cc2acb9765" providerId="ADAL" clId="{14C079B1-3763-444B-B216-374EF69EE7DF}" dt="2021-07-26T13:33:39.728" v="83285" actId="948"/>
          <ac:spMkLst>
            <pc:docMk/>
            <pc:sldMk cId="527795360" sldId="9177"/>
            <ac:spMk id="150" creationId="{CBA92872-647E-4582-A6F6-752B9702CB82}"/>
          </ac:spMkLst>
        </pc:spChg>
        <pc:spChg chg="mod ord">
          <ac:chgData name="Wang, David" userId="5ba1598c-ec07-46f3-a0aa-a1cc2acb9765" providerId="ADAL" clId="{14C079B1-3763-444B-B216-374EF69EE7DF}" dt="2021-07-26T13:33:05.102" v="82932"/>
          <ac:spMkLst>
            <pc:docMk/>
            <pc:sldMk cId="527795360" sldId="9177"/>
            <ac:spMk id="152" creationId="{11B73804-F804-4B40-851D-800A5E795C0F}"/>
          </ac:spMkLst>
        </pc:spChg>
        <pc:spChg chg="mod ord">
          <ac:chgData name="Wang, David" userId="5ba1598c-ec07-46f3-a0aa-a1cc2acb9765" providerId="ADAL" clId="{14C079B1-3763-444B-B216-374EF69EE7DF}" dt="2021-07-26T13:33:39.728" v="83287" actId="948"/>
          <ac:spMkLst>
            <pc:docMk/>
            <pc:sldMk cId="527795360" sldId="9177"/>
            <ac:spMk id="153" creationId="{94078093-2FDE-411E-BD1E-9175702D3DC3}"/>
          </ac:spMkLst>
        </pc:spChg>
        <pc:spChg chg="mod ord">
          <ac:chgData name="Wang, David" userId="5ba1598c-ec07-46f3-a0aa-a1cc2acb9765" providerId="ADAL" clId="{14C079B1-3763-444B-B216-374EF69EE7DF}" dt="2021-07-26T13:33:05.133" v="82948"/>
          <ac:spMkLst>
            <pc:docMk/>
            <pc:sldMk cId="527795360" sldId="9177"/>
            <ac:spMk id="155" creationId="{A76BC2B6-5DE1-478B-8FFA-9CE5B3B32DC8}"/>
          </ac:spMkLst>
        </pc:spChg>
        <pc:graphicFrameChg chg="mod ord">
          <ac:chgData name="Wang, David" userId="5ba1598c-ec07-46f3-a0aa-a1cc2acb9765" providerId="ADAL" clId="{14C079B1-3763-444B-B216-374EF69EE7DF}" dt="2021-07-26T14:23:33.160" v="83962"/>
          <ac:graphicFrameMkLst>
            <pc:docMk/>
            <pc:sldMk cId="527795360" sldId="9177"/>
            <ac:graphicFrameMk id="22" creationId="{6463FF10-63C4-4C8A-99D4-C218E23160EF}"/>
          </ac:graphicFrameMkLst>
        </pc:graphicFrameChg>
        <pc:picChg chg="mod">
          <ac:chgData name="Wang, David" userId="5ba1598c-ec07-46f3-a0aa-a1cc2acb9765" providerId="ADAL" clId="{14C079B1-3763-444B-B216-374EF69EE7DF}" dt="2021-07-26T13:32:06.985" v="82522" actId="1076"/>
          <ac:picMkLst>
            <pc:docMk/>
            <pc:sldMk cId="527795360" sldId="9177"/>
            <ac:picMk id="95" creationId="{3CDB9FD5-FB46-4129-A9DE-C9F56505E655}"/>
          </ac:picMkLst>
        </pc:picChg>
        <pc:picChg chg="del mod">
          <ac:chgData name="Wang, David" userId="5ba1598c-ec07-46f3-a0aa-a1cc2acb9765" providerId="ADAL" clId="{14C079B1-3763-444B-B216-374EF69EE7DF}" dt="2021-07-26T13:34:47.523" v="83356" actId="478"/>
          <ac:picMkLst>
            <pc:docMk/>
            <pc:sldMk cId="527795360" sldId="9177"/>
            <ac:picMk id="96" creationId="{4C0E2D55-64F7-4A63-BC88-AEA11837282C}"/>
          </ac:picMkLst>
        </pc:picChg>
        <pc:picChg chg="mod">
          <ac:chgData name="Wang, David" userId="5ba1598c-ec07-46f3-a0aa-a1cc2acb9765" providerId="ADAL" clId="{14C079B1-3763-444B-B216-374EF69EE7DF}" dt="2021-07-26T13:33:18.063" v="83257" actId="1076"/>
          <ac:picMkLst>
            <pc:docMk/>
            <pc:sldMk cId="527795360" sldId="9177"/>
            <ac:picMk id="97" creationId="{6D02C7CD-D0BD-4585-8B00-F8FD0EE00E1D}"/>
          </ac:picMkLst>
        </pc:picChg>
        <pc:picChg chg="del">
          <ac:chgData name="Wang, David" userId="5ba1598c-ec07-46f3-a0aa-a1cc2acb9765" providerId="ADAL" clId="{14C079B1-3763-444B-B216-374EF69EE7DF}" dt="2021-07-26T13:31:20.030" v="80878" actId="478"/>
          <ac:picMkLst>
            <pc:docMk/>
            <pc:sldMk cId="527795360" sldId="9177"/>
            <ac:picMk id="98" creationId="{EAF8E202-B9E4-4777-A8EB-8BD31108A580}"/>
          </ac:picMkLst>
        </pc:picChg>
        <pc:picChg chg="mod ord">
          <ac:chgData name="Wang, David" userId="5ba1598c-ec07-46f3-a0aa-a1cc2acb9765" providerId="ADAL" clId="{14C079B1-3763-444B-B216-374EF69EE7DF}" dt="2021-07-26T13:32:01.984" v="82519" actId="1076"/>
          <ac:picMkLst>
            <pc:docMk/>
            <pc:sldMk cId="527795360" sldId="9177"/>
            <ac:picMk id="99" creationId="{4C0CA151-5400-4E58-A5F4-E044EFFAA587}"/>
          </ac:picMkLst>
        </pc:picChg>
        <pc:picChg chg="add mod">
          <ac:chgData name="Wang, David" userId="5ba1598c-ec07-46f3-a0aa-a1cc2acb9765" providerId="ADAL" clId="{14C079B1-3763-444B-B216-374EF69EE7DF}" dt="2021-07-26T13:34:54.642" v="83358" actId="1076"/>
          <ac:picMkLst>
            <pc:docMk/>
            <pc:sldMk cId="527795360" sldId="9177"/>
            <ac:picMk id="104" creationId="{EA99B191-5D84-4EF4-A264-70B8DF0FD748}"/>
          </ac:picMkLst>
        </pc:picChg>
        <pc:cxnChg chg="mod ord">
          <ac:chgData name="Wang, David" userId="5ba1598c-ec07-46f3-a0aa-a1cc2acb9765" providerId="ADAL" clId="{14C079B1-3763-444B-B216-374EF69EE7DF}" dt="2021-07-26T13:33:05.249" v="83015"/>
          <ac:cxnSpMkLst>
            <pc:docMk/>
            <pc:sldMk cId="527795360" sldId="9177"/>
            <ac:cxnSpMk id="24" creationId="{80452201-7237-4368-9C12-1C718F248397}"/>
          </ac:cxnSpMkLst>
        </pc:cxnChg>
        <pc:cxnChg chg="mod ord">
          <ac:chgData name="Wang, David" userId="5ba1598c-ec07-46f3-a0aa-a1cc2acb9765" providerId="ADAL" clId="{14C079B1-3763-444B-B216-374EF69EE7DF}" dt="2021-07-26T13:33:05.271" v="83031"/>
          <ac:cxnSpMkLst>
            <pc:docMk/>
            <pc:sldMk cId="527795360" sldId="9177"/>
            <ac:cxnSpMk id="25" creationId="{C20AD19C-90C1-474B-A0A9-32DB02E0E074}"/>
          </ac:cxnSpMkLst>
        </pc:cxnChg>
        <pc:cxnChg chg="mod ord">
          <ac:chgData name="Wang, David" userId="5ba1598c-ec07-46f3-a0aa-a1cc2acb9765" providerId="ADAL" clId="{14C079B1-3763-444B-B216-374EF69EE7DF}" dt="2021-07-26T13:33:05.287" v="83039"/>
          <ac:cxnSpMkLst>
            <pc:docMk/>
            <pc:sldMk cId="527795360" sldId="9177"/>
            <ac:cxnSpMk id="26" creationId="{3E07D79C-C768-4D31-A08A-E1C90D0183F6}"/>
          </ac:cxnSpMkLst>
        </pc:cxnChg>
        <pc:cxnChg chg="mod ord">
          <ac:chgData name="Wang, David" userId="5ba1598c-ec07-46f3-a0aa-a1cc2acb9765" providerId="ADAL" clId="{14C079B1-3763-444B-B216-374EF69EE7DF}" dt="2021-07-26T13:33:05.318" v="83047"/>
          <ac:cxnSpMkLst>
            <pc:docMk/>
            <pc:sldMk cId="527795360" sldId="9177"/>
            <ac:cxnSpMk id="27" creationId="{53F07609-9884-4F34-A273-A9BDBF1C6E23}"/>
          </ac:cxnSpMkLst>
        </pc:cxnChg>
        <pc:cxnChg chg="mod ord">
          <ac:chgData name="Wang, David" userId="5ba1598c-ec07-46f3-a0aa-a1cc2acb9765" providerId="ADAL" clId="{14C079B1-3763-444B-B216-374EF69EE7DF}" dt="2021-07-26T13:33:05.318" v="83051"/>
          <ac:cxnSpMkLst>
            <pc:docMk/>
            <pc:sldMk cId="527795360" sldId="9177"/>
            <ac:cxnSpMk id="28" creationId="{A393828D-F86E-43AD-8498-D95067966B99}"/>
          </ac:cxnSpMkLst>
        </pc:cxnChg>
        <pc:cxnChg chg="mod ord">
          <ac:chgData name="Wang, David" userId="5ba1598c-ec07-46f3-a0aa-a1cc2acb9765" providerId="ADAL" clId="{14C079B1-3763-444B-B216-374EF69EE7DF}" dt="2021-07-26T13:33:05.333" v="83059"/>
          <ac:cxnSpMkLst>
            <pc:docMk/>
            <pc:sldMk cId="527795360" sldId="9177"/>
            <ac:cxnSpMk id="29" creationId="{C8FCDD04-2263-4429-8331-2BDC1BD44C1D}"/>
          </ac:cxnSpMkLst>
        </pc:cxnChg>
        <pc:cxnChg chg="mod ord">
          <ac:chgData name="Wang, David" userId="5ba1598c-ec07-46f3-a0aa-a1cc2acb9765" providerId="ADAL" clId="{14C079B1-3763-444B-B216-374EF69EE7DF}" dt="2021-07-26T13:33:05.333" v="83063"/>
          <ac:cxnSpMkLst>
            <pc:docMk/>
            <pc:sldMk cId="527795360" sldId="9177"/>
            <ac:cxnSpMk id="30" creationId="{BD89C9D9-EE50-4D13-8B10-38A37497D7AB}"/>
          </ac:cxnSpMkLst>
        </pc:cxnChg>
        <pc:cxnChg chg="mod ord">
          <ac:chgData name="Wang, David" userId="5ba1598c-ec07-46f3-a0aa-a1cc2acb9765" providerId="ADAL" clId="{14C079B1-3763-444B-B216-374EF69EE7DF}" dt="2021-07-26T13:33:05.349" v="83067"/>
          <ac:cxnSpMkLst>
            <pc:docMk/>
            <pc:sldMk cId="527795360" sldId="9177"/>
            <ac:cxnSpMk id="31" creationId="{D4DC1538-9D32-4D12-8213-C7937AEAF560}"/>
          </ac:cxnSpMkLst>
        </pc:cxnChg>
        <pc:cxnChg chg="mod ord">
          <ac:chgData name="Wang, David" userId="5ba1598c-ec07-46f3-a0aa-a1cc2acb9765" providerId="ADAL" clId="{14C079B1-3763-444B-B216-374EF69EE7DF}" dt="2021-07-26T13:33:05.287" v="83035"/>
          <ac:cxnSpMkLst>
            <pc:docMk/>
            <pc:sldMk cId="527795360" sldId="9177"/>
            <ac:cxnSpMk id="32" creationId="{F0C5AFAE-AF5F-4CBF-822C-EB2F6821A993}"/>
          </ac:cxnSpMkLst>
        </pc:cxnChg>
        <pc:cxnChg chg="mod ord">
          <ac:chgData name="Wang, David" userId="5ba1598c-ec07-46f3-a0aa-a1cc2acb9765" providerId="ADAL" clId="{14C079B1-3763-444B-B216-374EF69EE7DF}" dt="2021-07-26T13:33:05.302" v="83043"/>
          <ac:cxnSpMkLst>
            <pc:docMk/>
            <pc:sldMk cId="527795360" sldId="9177"/>
            <ac:cxnSpMk id="33" creationId="{699E31B6-6533-47FE-A378-D5C61771ADBB}"/>
          </ac:cxnSpMkLst>
        </pc:cxnChg>
        <pc:cxnChg chg="mod ord">
          <ac:chgData name="Wang, David" userId="5ba1598c-ec07-46f3-a0aa-a1cc2acb9765" providerId="ADAL" clId="{14C079B1-3763-444B-B216-374EF69EE7DF}" dt="2021-07-26T13:33:05.264" v="83023"/>
          <ac:cxnSpMkLst>
            <pc:docMk/>
            <pc:sldMk cId="527795360" sldId="9177"/>
            <ac:cxnSpMk id="34" creationId="{8692F0F5-5DB2-452D-9FD7-0195ED2F1DD2}"/>
          </ac:cxnSpMkLst>
        </pc:cxnChg>
        <pc:cxnChg chg="mod ord">
          <ac:chgData name="Wang, David" userId="5ba1598c-ec07-46f3-a0aa-a1cc2acb9765" providerId="ADAL" clId="{14C079B1-3763-444B-B216-374EF69EE7DF}" dt="2021-07-26T13:33:05.233" v="83011"/>
          <ac:cxnSpMkLst>
            <pc:docMk/>
            <pc:sldMk cId="527795360" sldId="9177"/>
            <ac:cxnSpMk id="35" creationId="{F4F3D560-8186-4F08-809D-B93C5FAAF5F5}"/>
          </ac:cxnSpMkLst>
        </pc:cxnChg>
        <pc:cxnChg chg="mod ord">
          <ac:chgData name="Wang, David" userId="5ba1598c-ec07-46f3-a0aa-a1cc2acb9765" providerId="ADAL" clId="{14C079B1-3763-444B-B216-374EF69EE7DF}" dt="2021-07-26T13:33:05.249" v="83019"/>
          <ac:cxnSpMkLst>
            <pc:docMk/>
            <pc:sldMk cId="527795360" sldId="9177"/>
            <ac:cxnSpMk id="36" creationId="{B1C6F66D-48FC-4173-8DC1-E314B88ADE91}"/>
          </ac:cxnSpMkLst>
        </pc:cxnChg>
        <pc:cxnChg chg="mod ord">
          <ac:chgData name="Wang, David" userId="5ba1598c-ec07-46f3-a0aa-a1cc2acb9765" providerId="ADAL" clId="{14C079B1-3763-444B-B216-374EF69EE7DF}" dt="2021-07-26T13:31:54.808" v="82117"/>
          <ac:cxnSpMkLst>
            <pc:docMk/>
            <pc:sldMk cId="527795360" sldId="9177"/>
            <ac:cxnSpMk id="38" creationId="{DC1F9A9F-82D6-42BC-B844-B01369DA561D}"/>
          </ac:cxnSpMkLst>
        </pc:cxnChg>
        <pc:cxnChg chg="mod ord">
          <ac:chgData name="Wang, David" userId="5ba1598c-ec07-46f3-a0aa-a1cc2acb9765" providerId="ADAL" clId="{14C079B1-3763-444B-B216-374EF69EE7DF}" dt="2021-07-26T13:31:54.877" v="82165"/>
          <ac:cxnSpMkLst>
            <pc:docMk/>
            <pc:sldMk cId="527795360" sldId="9177"/>
            <ac:cxnSpMk id="39" creationId="{D7BD0AD3-76DB-483E-A31F-CD198713AF40}"/>
          </ac:cxnSpMkLst>
        </pc:cxnChg>
        <pc:cxnChg chg="del mod ord">
          <ac:chgData name="Wang, David" userId="5ba1598c-ec07-46f3-a0aa-a1cc2acb9765" providerId="ADAL" clId="{14C079B1-3763-444B-B216-374EF69EE7DF}" dt="2021-07-26T13:31:40.618" v="81749"/>
          <ac:cxnSpMkLst>
            <pc:docMk/>
            <pc:sldMk cId="527795360" sldId="9177"/>
            <ac:cxnSpMk id="40" creationId="{6AF724F5-D7D1-4267-BC03-D7D07DEA292E}"/>
          </ac:cxnSpMkLst>
        </pc:cxnChg>
        <pc:cxnChg chg="mod ord">
          <ac:chgData name="Wang, David" userId="5ba1598c-ec07-46f3-a0aa-a1cc2acb9765" providerId="ADAL" clId="{14C079B1-3763-444B-B216-374EF69EE7DF}" dt="2021-07-26T13:33:05.149" v="82964"/>
          <ac:cxnSpMkLst>
            <pc:docMk/>
            <pc:sldMk cId="527795360" sldId="9177"/>
            <ac:cxnSpMk id="41" creationId="{3262C64E-76B3-47BD-A754-2F2FD44377DB}"/>
          </ac:cxnSpMkLst>
        </pc:cxnChg>
        <pc:cxnChg chg="mod ord">
          <ac:chgData name="Wang, David" userId="5ba1598c-ec07-46f3-a0aa-a1cc2acb9765" providerId="ADAL" clId="{14C079B1-3763-444B-B216-374EF69EE7DF}" dt="2021-07-26T13:33:05.349" v="83071"/>
          <ac:cxnSpMkLst>
            <pc:docMk/>
            <pc:sldMk cId="527795360" sldId="9177"/>
            <ac:cxnSpMk id="42" creationId="{7CD97D95-337F-4060-98C3-F849A643FE2B}"/>
          </ac:cxnSpMkLst>
        </pc:cxnChg>
        <pc:cxnChg chg="mod ord">
          <ac:chgData name="Wang, David" userId="5ba1598c-ec07-46f3-a0aa-a1cc2acb9765" providerId="ADAL" clId="{14C079B1-3763-444B-B216-374EF69EE7DF}" dt="2021-07-26T13:33:05.033" v="82892"/>
          <ac:cxnSpMkLst>
            <pc:docMk/>
            <pc:sldMk cId="527795360" sldId="9177"/>
            <ac:cxnSpMk id="44" creationId="{7AE5A476-9DFF-4038-A44F-107C6298D1E5}"/>
          </ac:cxnSpMkLst>
        </pc:cxnChg>
        <pc:cxnChg chg="mod ord">
          <ac:chgData name="Wang, David" userId="5ba1598c-ec07-46f3-a0aa-a1cc2acb9765" providerId="ADAL" clId="{14C079B1-3763-444B-B216-374EF69EE7DF}" dt="2021-07-26T13:31:55.394" v="82508"/>
          <ac:cxnSpMkLst>
            <pc:docMk/>
            <pc:sldMk cId="527795360" sldId="9177"/>
            <ac:cxnSpMk id="45" creationId="{17D84FB5-67A3-4062-AB61-4A2D5ED85572}"/>
          </ac:cxnSpMkLst>
        </pc:cxnChg>
        <pc:cxnChg chg="mod ord">
          <ac:chgData name="Wang, David" userId="5ba1598c-ec07-46f3-a0aa-a1cc2acb9765" providerId="ADAL" clId="{14C079B1-3763-444B-B216-374EF69EE7DF}" dt="2021-07-26T13:33:05.333" v="83055"/>
          <ac:cxnSpMkLst>
            <pc:docMk/>
            <pc:sldMk cId="527795360" sldId="9177"/>
            <ac:cxnSpMk id="89" creationId="{21BECAD3-9E48-4440-98D6-60875E341AF0}"/>
          </ac:cxnSpMkLst>
        </pc:cxnChg>
        <pc:cxnChg chg="mod ord">
          <ac:chgData name="Wang, David" userId="5ba1598c-ec07-46f3-a0aa-a1cc2acb9765" providerId="ADAL" clId="{14C079B1-3763-444B-B216-374EF69EE7DF}" dt="2021-07-26T13:33:05.271" v="83027"/>
          <ac:cxnSpMkLst>
            <pc:docMk/>
            <pc:sldMk cId="527795360" sldId="9177"/>
            <ac:cxnSpMk id="157" creationId="{F6CC7677-6DF9-4DE6-BF20-21187A18D097}"/>
          </ac:cxnSpMkLst>
        </pc:cxnChg>
      </pc:sldChg>
      <pc:sldChg chg="addSp delSp modSp add mod">
        <pc:chgData name="Wang, David" userId="5ba1598c-ec07-46f3-a0aa-a1cc2acb9765" providerId="ADAL" clId="{14C079B1-3763-444B-B216-374EF69EE7DF}" dt="2021-07-26T14:47:15.239" v="100610"/>
        <pc:sldMkLst>
          <pc:docMk/>
          <pc:sldMk cId="1751580456" sldId="9178"/>
        </pc:sldMkLst>
        <pc:spChg chg="add del mod modVis">
          <ac:chgData name="Wang, David" userId="5ba1598c-ec07-46f3-a0aa-a1cc2acb9765" providerId="ADAL" clId="{14C079B1-3763-444B-B216-374EF69EE7DF}" dt="2021-07-26T14:26:59.003" v="84002"/>
          <ac:spMkLst>
            <pc:docMk/>
            <pc:sldMk cId="1751580456" sldId="9178"/>
            <ac:spMk id="2" creationId="{772C6640-7CAD-456D-AEC6-906C986A037C}"/>
          </ac:spMkLst>
        </pc:spChg>
        <pc:spChg chg="add del mod modVis">
          <ac:chgData name="Wang, David" userId="5ba1598c-ec07-46f3-a0aa-a1cc2acb9765" providerId="ADAL" clId="{14C079B1-3763-444B-B216-374EF69EE7DF}" dt="2021-07-26T14:26:59.789" v="84044"/>
          <ac:spMkLst>
            <pc:docMk/>
            <pc:sldMk cId="1751580456" sldId="9178"/>
            <ac:spMk id="3" creationId="{7A161B4B-9391-4C51-B1CE-E499DC2F6527}"/>
          </ac:spMkLst>
        </pc:spChg>
        <pc:spChg chg="add del mod modVis">
          <ac:chgData name="Wang, David" userId="5ba1598c-ec07-46f3-a0aa-a1cc2acb9765" providerId="ADAL" clId="{14C079B1-3763-444B-B216-374EF69EE7DF}" dt="2021-07-26T14:27:00.576" v="84087"/>
          <ac:spMkLst>
            <pc:docMk/>
            <pc:sldMk cId="1751580456" sldId="9178"/>
            <ac:spMk id="4" creationId="{C4890CCD-C7CF-4801-A958-CE8EA97D5795}"/>
          </ac:spMkLst>
        </pc:spChg>
        <pc:spChg chg="add del mod modVis">
          <ac:chgData name="Wang, David" userId="5ba1598c-ec07-46f3-a0aa-a1cc2acb9765" providerId="ADAL" clId="{14C079B1-3763-444B-B216-374EF69EE7DF}" dt="2021-07-26T14:27:01.349" v="84128"/>
          <ac:spMkLst>
            <pc:docMk/>
            <pc:sldMk cId="1751580456" sldId="9178"/>
            <ac:spMk id="5" creationId="{787B4BB6-122C-42C9-91D6-E24E05AC91CA}"/>
          </ac:spMkLst>
        </pc:spChg>
        <pc:spChg chg="add del mod modVis">
          <ac:chgData name="Wang, David" userId="5ba1598c-ec07-46f3-a0aa-a1cc2acb9765" providerId="ADAL" clId="{14C079B1-3763-444B-B216-374EF69EE7DF}" dt="2021-07-26T14:27:08.325" v="84169"/>
          <ac:spMkLst>
            <pc:docMk/>
            <pc:sldMk cId="1751580456" sldId="9178"/>
            <ac:spMk id="6" creationId="{CED7CE0C-F405-44E3-AEF0-0D404DD39787}"/>
          </ac:spMkLst>
        </pc:spChg>
        <pc:spChg chg="add del mod ord modVis">
          <ac:chgData name="Wang, David" userId="5ba1598c-ec07-46f3-a0aa-a1cc2acb9765" providerId="ADAL" clId="{14C079B1-3763-444B-B216-374EF69EE7DF}" dt="2021-07-26T14:27:37.115" v="85213"/>
          <ac:spMkLst>
            <pc:docMk/>
            <pc:sldMk cId="1751580456" sldId="9178"/>
            <ac:spMk id="7" creationId="{CA9AD7B0-F358-4F03-AB25-2AEEDCF7BE62}"/>
          </ac:spMkLst>
        </pc:spChg>
        <pc:spChg chg="mod">
          <ac:chgData name="Wang, David" userId="5ba1598c-ec07-46f3-a0aa-a1cc2acb9765" providerId="ADAL" clId="{14C079B1-3763-444B-B216-374EF69EE7DF}" dt="2021-07-26T14:47:15.108" v="100584"/>
          <ac:spMkLst>
            <pc:docMk/>
            <pc:sldMk cId="1751580456" sldId="9178"/>
            <ac:spMk id="9" creationId="{FF9292AF-B235-4804-BF3A-07FAB01A1202}"/>
          </ac:spMkLst>
        </pc:spChg>
        <pc:spChg chg="mod">
          <ac:chgData name="Wang, David" userId="5ba1598c-ec07-46f3-a0aa-a1cc2acb9765" providerId="ADAL" clId="{14C079B1-3763-444B-B216-374EF69EE7DF}" dt="2021-07-26T14:47:15.108" v="100585"/>
          <ac:spMkLst>
            <pc:docMk/>
            <pc:sldMk cId="1751580456" sldId="9178"/>
            <ac:spMk id="10" creationId="{3EE93DA3-3DF5-4933-94DE-B6BBCC800669}"/>
          </ac:spMkLst>
        </pc:spChg>
        <pc:spChg chg="mod">
          <ac:chgData name="Wang, David" userId="5ba1598c-ec07-46f3-a0aa-a1cc2acb9765" providerId="ADAL" clId="{14C079B1-3763-444B-B216-374EF69EE7DF}" dt="2021-07-26T14:47:15.123" v="100587"/>
          <ac:spMkLst>
            <pc:docMk/>
            <pc:sldMk cId="1751580456" sldId="9178"/>
            <ac:spMk id="11" creationId="{14781716-3A7B-4550-9D7E-D7FF18991C7D}"/>
          </ac:spMkLst>
        </pc:spChg>
        <pc:spChg chg="mod">
          <ac:chgData name="Wang, David" userId="5ba1598c-ec07-46f3-a0aa-a1cc2acb9765" providerId="ADAL" clId="{14C079B1-3763-444B-B216-374EF69EE7DF}" dt="2021-07-26T14:47:15.123" v="100588"/>
          <ac:spMkLst>
            <pc:docMk/>
            <pc:sldMk cId="1751580456" sldId="9178"/>
            <ac:spMk id="12" creationId="{DD851D24-F658-47DC-B90E-67FC66F6D073}"/>
          </ac:spMkLst>
        </pc:spChg>
        <pc:spChg chg="mod">
          <ac:chgData name="Wang, David" userId="5ba1598c-ec07-46f3-a0aa-a1cc2acb9765" providerId="ADAL" clId="{14C079B1-3763-444B-B216-374EF69EE7DF}" dt="2021-07-26T14:47:15.123" v="100589"/>
          <ac:spMkLst>
            <pc:docMk/>
            <pc:sldMk cId="1751580456" sldId="9178"/>
            <ac:spMk id="13" creationId="{1E6B437D-2C8A-4FEB-8722-EB70DD670181}"/>
          </ac:spMkLst>
        </pc:spChg>
        <pc:spChg chg="mod">
          <ac:chgData name="Wang, David" userId="5ba1598c-ec07-46f3-a0aa-a1cc2acb9765" providerId="ADAL" clId="{14C079B1-3763-444B-B216-374EF69EE7DF}" dt="2021-07-26T14:47:15.123" v="100590"/>
          <ac:spMkLst>
            <pc:docMk/>
            <pc:sldMk cId="1751580456" sldId="9178"/>
            <ac:spMk id="14" creationId="{A5ABA1A1-97A9-4B9D-9015-CDF33B35AF84}"/>
          </ac:spMkLst>
        </pc:spChg>
        <pc:spChg chg="mod">
          <ac:chgData name="Wang, David" userId="5ba1598c-ec07-46f3-a0aa-a1cc2acb9765" providerId="ADAL" clId="{14C079B1-3763-444B-B216-374EF69EE7DF}" dt="2021-07-26T14:47:15.123" v="100591"/>
          <ac:spMkLst>
            <pc:docMk/>
            <pc:sldMk cId="1751580456" sldId="9178"/>
            <ac:spMk id="15" creationId="{1F939E00-855E-4545-A5D1-B9A4A186CC18}"/>
          </ac:spMkLst>
        </pc:spChg>
        <pc:spChg chg="mod">
          <ac:chgData name="Wang, David" userId="5ba1598c-ec07-46f3-a0aa-a1cc2acb9765" providerId="ADAL" clId="{14C079B1-3763-444B-B216-374EF69EE7DF}" dt="2021-07-26T14:47:15.123" v="100592"/>
          <ac:spMkLst>
            <pc:docMk/>
            <pc:sldMk cId="1751580456" sldId="9178"/>
            <ac:spMk id="16" creationId="{47578672-1C62-4357-82C3-F8CA1A1C7786}"/>
          </ac:spMkLst>
        </pc:spChg>
        <pc:spChg chg="mod">
          <ac:chgData name="Wang, David" userId="5ba1598c-ec07-46f3-a0aa-a1cc2acb9765" providerId="ADAL" clId="{14C079B1-3763-444B-B216-374EF69EE7DF}" dt="2021-07-26T14:47:15.123" v="100593"/>
          <ac:spMkLst>
            <pc:docMk/>
            <pc:sldMk cId="1751580456" sldId="9178"/>
            <ac:spMk id="17" creationId="{1939CE81-3919-41BF-88A9-A55428316775}"/>
          </ac:spMkLst>
        </pc:spChg>
        <pc:spChg chg="mod">
          <ac:chgData name="Wang, David" userId="5ba1598c-ec07-46f3-a0aa-a1cc2acb9765" providerId="ADAL" clId="{14C079B1-3763-444B-B216-374EF69EE7DF}" dt="2021-07-26T14:47:15.123" v="100594"/>
          <ac:spMkLst>
            <pc:docMk/>
            <pc:sldMk cId="1751580456" sldId="9178"/>
            <ac:spMk id="18" creationId="{3596DC0E-566F-47A2-B727-B77BE071765D}"/>
          </ac:spMkLst>
        </pc:spChg>
        <pc:spChg chg="mod">
          <ac:chgData name="Wang, David" userId="5ba1598c-ec07-46f3-a0aa-a1cc2acb9765" providerId="ADAL" clId="{14C079B1-3763-444B-B216-374EF69EE7DF}" dt="2021-07-26T14:47:15.139" v="100595"/>
          <ac:spMkLst>
            <pc:docMk/>
            <pc:sldMk cId="1751580456" sldId="9178"/>
            <ac:spMk id="19" creationId="{D151409A-AB22-499D-BF88-35FAC1A799D7}"/>
          </ac:spMkLst>
        </pc:spChg>
        <pc:spChg chg="mod">
          <ac:chgData name="Wang, David" userId="5ba1598c-ec07-46f3-a0aa-a1cc2acb9765" providerId="ADAL" clId="{14C079B1-3763-444B-B216-374EF69EE7DF}" dt="2021-07-26T14:47:15.139" v="100596"/>
          <ac:spMkLst>
            <pc:docMk/>
            <pc:sldMk cId="1751580456" sldId="9178"/>
            <ac:spMk id="20" creationId="{BAA36D7C-F8BF-4285-947B-85B6B95F2A7D}"/>
          </ac:spMkLst>
        </pc:spChg>
        <pc:spChg chg="mod">
          <ac:chgData name="Wang, David" userId="5ba1598c-ec07-46f3-a0aa-a1cc2acb9765" providerId="ADAL" clId="{14C079B1-3763-444B-B216-374EF69EE7DF}" dt="2021-07-26T14:47:15.139" v="100597"/>
          <ac:spMkLst>
            <pc:docMk/>
            <pc:sldMk cId="1751580456" sldId="9178"/>
            <ac:spMk id="21" creationId="{AA2BF07C-CFCA-4492-950D-B926F1AA46D5}"/>
          </ac:spMkLst>
        </pc:spChg>
        <pc:spChg chg="mod">
          <ac:chgData name="Wang, David" userId="5ba1598c-ec07-46f3-a0aa-a1cc2acb9765" providerId="ADAL" clId="{14C079B1-3763-444B-B216-374EF69EE7DF}" dt="2021-07-26T14:47:15.139" v="100598"/>
          <ac:spMkLst>
            <pc:docMk/>
            <pc:sldMk cId="1751580456" sldId="9178"/>
            <ac:spMk id="23" creationId="{CBFDEC41-B7CD-4514-BDB9-326747B384CD}"/>
          </ac:spMkLst>
        </pc:spChg>
        <pc:spChg chg="mod ord">
          <ac:chgData name="Wang, David" userId="5ba1598c-ec07-46f3-a0aa-a1cc2acb9765" providerId="ADAL" clId="{14C079B1-3763-444B-B216-374EF69EE7DF}" dt="2021-07-26T14:47:14.907" v="100514" actId="948"/>
          <ac:spMkLst>
            <pc:docMk/>
            <pc:sldMk cId="1751580456" sldId="9178"/>
            <ac:spMk id="43" creationId="{9612C3F6-9FCF-463B-A09B-1F0967DF8D1D}"/>
          </ac:spMkLst>
        </pc:spChg>
        <pc:spChg chg="mod ord">
          <ac:chgData name="Wang, David" userId="5ba1598c-ec07-46f3-a0aa-a1cc2acb9765" providerId="ADAL" clId="{14C079B1-3763-444B-B216-374EF69EE7DF}" dt="2021-07-26T14:47:14.939" v="100529" actId="948"/>
          <ac:spMkLst>
            <pc:docMk/>
            <pc:sldMk cId="1751580456" sldId="9178"/>
            <ac:spMk id="47" creationId="{A2015832-6C22-4EB7-8A17-3A6633250AC3}"/>
          </ac:spMkLst>
        </pc:spChg>
        <pc:spChg chg="mod ord">
          <ac:chgData name="Wang, David" userId="5ba1598c-ec07-46f3-a0aa-a1cc2acb9765" providerId="ADAL" clId="{14C079B1-3763-444B-B216-374EF69EE7DF}" dt="2021-07-26T14:47:14.939" v="100528" actId="948"/>
          <ac:spMkLst>
            <pc:docMk/>
            <pc:sldMk cId="1751580456" sldId="9178"/>
            <ac:spMk id="48" creationId="{202CEB77-3291-4756-B603-B2F24612EB96}"/>
          </ac:spMkLst>
        </pc:spChg>
        <pc:spChg chg="mod ord">
          <ac:chgData name="Wang, David" userId="5ba1598c-ec07-46f3-a0aa-a1cc2acb9765" providerId="ADAL" clId="{14C079B1-3763-444B-B216-374EF69EE7DF}" dt="2021-07-26T14:47:14.939" v="100527" actId="948"/>
          <ac:spMkLst>
            <pc:docMk/>
            <pc:sldMk cId="1751580456" sldId="9178"/>
            <ac:spMk id="49" creationId="{E05B9206-1C48-441B-A139-E5825C277585}"/>
          </ac:spMkLst>
        </pc:spChg>
        <pc:spChg chg="mod ord">
          <ac:chgData name="Wang, David" userId="5ba1598c-ec07-46f3-a0aa-a1cc2acb9765" providerId="ADAL" clId="{14C079B1-3763-444B-B216-374EF69EE7DF}" dt="2021-07-26T14:47:14.939" v="100532" actId="948"/>
          <ac:spMkLst>
            <pc:docMk/>
            <pc:sldMk cId="1751580456" sldId="9178"/>
            <ac:spMk id="50" creationId="{D3FA93A2-3222-4733-A648-ECB2F1C27E77}"/>
          </ac:spMkLst>
        </pc:spChg>
        <pc:spChg chg="mod ord">
          <ac:chgData name="Wang, David" userId="5ba1598c-ec07-46f3-a0aa-a1cc2acb9765" providerId="ADAL" clId="{14C079B1-3763-444B-B216-374EF69EE7DF}" dt="2021-07-26T14:47:14.976" v="100553" actId="948"/>
          <ac:spMkLst>
            <pc:docMk/>
            <pc:sldMk cId="1751580456" sldId="9178"/>
            <ac:spMk id="51" creationId="{77F2ED03-FE25-47E5-97E8-7F9B3413C68A}"/>
          </ac:spMkLst>
        </pc:spChg>
        <pc:spChg chg="mod ord">
          <ac:chgData name="Wang, David" userId="5ba1598c-ec07-46f3-a0aa-a1cc2acb9765" providerId="ADAL" clId="{14C079B1-3763-444B-B216-374EF69EE7DF}" dt="2021-07-26T14:47:14.939" v="100526" actId="948"/>
          <ac:spMkLst>
            <pc:docMk/>
            <pc:sldMk cId="1751580456" sldId="9178"/>
            <ac:spMk id="52" creationId="{EAD0374B-9DFA-4C79-928A-7FEC3B28D9F3}"/>
          </ac:spMkLst>
        </pc:spChg>
        <pc:spChg chg="mod ord">
          <ac:chgData name="Wang, David" userId="5ba1598c-ec07-46f3-a0aa-a1cc2acb9765" providerId="ADAL" clId="{14C079B1-3763-444B-B216-374EF69EE7DF}" dt="2021-07-26T14:47:14.976" v="100551" actId="948"/>
          <ac:spMkLst>
            <pc:docMk/>
            <pc:sldMk cId="1751580456" sldId="9178"/>
            <ac:spMk id="53" creationId="{3DE20BD6-4081-4A1B-A8D8-B69CD35EF003}"/>
          </ac:spMkLst>
        </pc:spChg>
        <pc:spChg chg="mod ord">
          <ac:chgData name="Wang, David" userId="5ba1598c-ec07-46f3-a0aa-a1cc2acb9765" providerId="ADAL" clId="{14C079B1-3763-444B-B216-374EF69EE7DF}" dt="2021-07-26T14:47:14.939" v="100531" actId="948"/>
          <ac:spMkLst>
            <pc:docMk/>
            <pc:sldMk cId="1751580456" sldId="9178"/>
            <ac:spMk id="54" creationId="{2F07B020-E777-49FC-9A7F-6B78FEF94FFD}"/>
          </ac:spMkLst>
        </pc:spChg>
        <pc:spChg chg="mod ord">
          <ac:chgData name="Wang, David" userId="5ba1598c-ec07-46f3-a0aa-a1cc2acb9765" providerId="ADAL" clId="{14C079B1-3763-444B-B216-374EF69EE7DF}" dt="2021-07-26T14:47:14.939" v="100530" actId="948"/>
          <ac:spMkLst>
            <pc:docMk/>
            <pc:sldMk cId="1751580456" sldId="9178"/>
            <ac:spMk id="56" creationId="{3471D0F2-6E36-43C3-869B-398D0227A30B}"/>
          </ac:spMkLst>
        </pc:spChg>
        <pc:spChg chg="mod ord">
          <ac:chgData name="Wang, David" userId="5ba1598c-ec07-46f3-a0aa-a1cc2acb9765" providerId="ADAL" clId="{14C079B1-3763-444B-B216-374EF69EE7DF}" dt="2021-07-26T14:47:14.939" v="100524" actId="948"/>
          <ac:spMkLst>
            <pc:docMk/>
            <pc:sldMk cId="1751580456" sldId="9178"/>
            <ac:spMk id="57" creationId="{D0D60C88-76F8-46EC-B09D-0D631C8618F5}"/>
          </ac:spMkLst>
        </pc:spChg>
        <pc:spChg chg="mod ord">
          <ac:chgData name="Wang, David" userId="5ba1598c-ec07-46f3-a0aa-a1cc2acb9765" providerId="ADAL" clId="{14C079B1-3763-444B-B216-374EF69EE7DF}" dt="2021-07-26T14:47:14.976" v="100552" actId="948"/>
          <ac:spMkLst>
            <pc:docMk/>
            <pc:sldMk cId="1751580456" sldId="9178"/>
            <ac:spMk id="58" creationId="{D7704228-8A91-4D4D-BE15-6FADFD5AB6F3}"/>
          </ac:spMkLst>
        </pc:spChg>
        <pc:spChg chg="mod ord">
          <ac:chgData name="Wang, David" userId="5ba1598c-ec07-46f3-a0aa-a1cc2acb9765" providerId="ADAL" clId="{14C079B1-3763-444B-B216-374EF69EE7DF}" dt="2021-07-26T14:47:14.976" v="100550" actId="948"/>
          <ac:spMkLst>
            <pc:docMk/>
            <pc:sldMk cId="1751580456" sldId="9178"/>
            <ac:spMk id="60" creationId="{D3766022-AB35-4BD2-9010-3B57AE2AA44E}"/>
          </ac:spMkLst>
        </pc:spChg>
        <pc:spChg chg="mod ord">
          <ac:chgData name="Wang, David" userId="5ba1598c-ec07-46f3-a0aa-a1cc2acb9765" providerId="ADAL" clId="{14C079B1-3763-444B-B216-374EF69EE7DF}" dt="2021-07-26T14:47:14.954" v="100537" actId="948"/>
          <ac:spMkLst>
            <pc:docMk/>
            <pc:sldMk cId="1751580456" sldId="9178"/>
            <ac:spMk id="61" creationId="{0D57010F-0BC1-41D4-9DEA-B29378BFF630}"/>
          </ac:spMkLst>
        </pc:spChg>
        <pc:spChg chg="mod ord">
          <ac:chgData name="Wang, David" userId="5ba1598c-ec07-46f3-a0aa-a1cc2acb9765" providerId="ADAL" clId="{14C079B1-3763-444B-B216-374EF69EE7DF}" dt="2021-07-26T14:47:14.954" v="100539" actId="948"/>
          <ac:spMkLst>
            <pc:docMk/>
            <pc:sldMk cId="1751580456" sldId="9178"/>
            <ac:spMk id="62" creationId="{EC3ECDAC-177E-4E33-B4C5-10F127952691}"/>
          </ac:spMkLst>
        </pc:spChg>
        <pc:spChg chg="mod ord">
          <ac:chgData name="Wang, David" userId="5ba1598c-ec07-46f3-a0aa-a1cc2acb9765" providerId="ADAL" clId="{14C079B1-3763-444B-B216-374EF69EE7DF}" dt="2021-07-26T14:47:14.954" v="100536" actId="948"/>
          <ac:spMkLst>
            <pc:docMk/>
            <pc:sldMk cId="1751580456" sldId="9178"/>
            <ac:spMk id="64" creationId="{76458135-EAF0-45F3-9BB9-05F48FCD7D84}"/>
          </ac:spMkLst>
        </pc:spChg>
        <pc:spChg chg="mod ord">
          <ac:chgData name="Wang, David" userId="5ba1598c-ec07-46f3-a0aa-a1cc2acb9765" providerId="ADAL" clId="{14C079B1-3763-444B-B216-374EF69EE7DF}" dt="2021-07-26T14:46:16.583" v="98919"/>
          <ac:spMkLst>
            <pc:docMk/>
            <pc:sldMk cId="1751580456" sldId="9178"/>
            <ac:spMk id="65" creationId="{AC8C2E4E-089A-4EE0-ABF7-F9737A88EBEB}"/>
          </ac:spMkLst>
        </pc:spChg>
        <pc:spChg chg="mod ord">
          <ac:chgData name="Wang, David" userId="5ba1598c-ec07-46f3-a0aa-a1cc2acb9765" providerId="ADAL" clId="{14C079B1-3763-444B-B216-374EF69EE7DF}" dt="2021-07-26T14:46:37.266" v="99546" actId="1076"/>
          <ac:spMkLst>
            <pc:docMk/>
            <pc:sldMk cId="1751580456" sldId="9178"/>
            <ac:spMk id="66" creationId="{170ECB66-5177-47C1-B18E-32DD8F20CC2D}"/>
          </ac:spMkLst>
        </pc:spChg>
        <pc:spChg chg="mod ord">
          <ac:chgData name="Wang, David" userId="5ba1598c-ec07-46f3-a0aa-a1cc2acb9765" providerId="ADAL" clId="{14C079B1-3763-444B-B216-374EF69EE7DF}" dt="2021-07-26T14:46:16.583" v="98929"/>
          <ac:spMkLst>
            <pc:docMk/>
            <pc:sldMk cId="1751580456" sldId="9178"/>
            <ac:spMk id="67" creationId="{0CA92E9F-A06D-406B-9151-7A35A8C3E52B}"/>
          </ac:spMkLst>
        </pc:spChg>
        <pc:spChg chg="mod ord">
          <ac:chgData name="Wang, David" userId="5ba1598c-ec07-46f3-a0aa-a1cc2acb9765" providerId="ADAL" clId="{14C079B1-3763-444B-B216-374EF69EE7DF}" dt="2021-07-26T14:46:16.583" v="98935"/>
          <ac:spMkLst>
            <pc:docMk/>
            <pc:sldMk cId="1751580456" sldId="9178"/>
            <ac:spMk id="68" creationId="{779DA0E9-5714-4C0F-9283-96F4D522E871}"/>
          </ac:spMkLst>
        </pc:spChg>
        <pc:spChg chg="mod ord">
          <ac:chgData name="Wang, David" userId="5ba1598c-ec07-46f3-a0aa-a1cc2acb9765" providerId="ADAL" clId="{14C079B1-3763-444B-B216-374EF69EE7DF}" dt="2021-07-26T14:46:37.266" v="99560" actId="1076"/>
          <ac:spMkLst>
            <pc:docMk/>
            <pc:sldMk cId="1751580456" sldId="9178"/>
            <ac:spMk id="69" creationId="{F50DA790-814B-4194-A38E-73637BE49CF9}"/>
          </ac:spMkLst>
        </pc:spChg>
        <pc:spChg chg="mod ord">
          <ac:chgData name="Wang, David" userId="5ba1598c-ec07-46f3-a0aa-a1cc2acb9765" providerId="ADAL" clId="{14C079B1-3763-444B-B216-374EF69EE7DF}" dt="2021-07-26T14:46:37.266" v="99550" actId="1076"/>
          <ac:spMkLst>
            <pc:docMk/>
            <pc:sldMk cId="1751580456" sldId="9178"/>
            <ac:spMk id="70" creationId="{85CEFF52-6291-49C8-83BD-BD525AB39BF9}"/>
          </ac:spMkLst>
        </pc:spChg>
        <pc:spChg chg="mod ord">
          <ac:chgData name="Wang, David" userId="5ba1598c-ec07-46f3-a0aa-a1cc2acb9765" providerId="ADAL" clId="{14C079B1-3763-444B-B216-374EF69EE7DF}" dt="2021-07-26T14:46:16.583" v="98933"/>
          <ac:spMkLst>
            <pc:docMk/>
            <pc:sldMk cId="1751580456" sldId="9178"/>
            <ac:spMk id="71" creationId="{6A8DD84A-2AF1-4005-B711-CF57B0EA527B}"/>
          </ac:spMkLst>
        </pc:spChg>
        <pc:spChg chg="mod">
          <ac:chgData name="Wang, David" userId="5ba1598c-ec07-46f3-a0aa-a1cc2acb9765" providerId="ADAL" clId="{14C079B1-3763-444B-B216-374EF69EE7DF}" dt="2021-07-26T14:47:14.923" v="100519"/>
          <ac:spMkLst>
            <pc:docMk/>
            <pc:sldMk cId="1751580456" sldId="9178"/>
            <ac:spMk id="72" creationId="{6D3522EE-F3E7-4C06-A4E5-66E7E6325BCC}"/>
          </ac:spMkLst>
        </pc:spChg>
        <pc:spChg chg="mod ord">
          <ac:chgData name="Wang, David" userId="5ba1598c-ec07-46f3-a0aa-a1cc2acb9765" providerId="ADAL" clId="{14C079B1-3763-444B-B216-374EF69EE7DF}" dt="2021-07-26T14:47:14.954" v="100534" actId="948"/>
          <ac:spMkLst>
            <pc:docMk/>
            <pc:sldMk cId="1751580456" sldId="9178"/>
            <ac:spMk id="73" creationId="{54162FF7-C578-4992-9F1D-46424A8C227C}"/>
          </ac:spMkLst>
        </pc:spChg>
        <pc:spChg chg="mod ord">
          <ac:chgData name="Wang, David" userId="5ba1598c-ec07-46f3-a0aa-a1cc2acb9765" providerId="ADAL" clId="{14C079B1-3763-444B-B216-374EF69EE7DF}" dt="2021-07-26T14:47:14.939" v="100523" actId="948"/>
          <ac:spMkLst>
            <pc:docMk/>
            <pc:sldMk cId="1751580456" sldId="9178"/>
            <ac:spMk id="74" creationId="{175B14BF-6C1D-440D-80C0-446823CE9961}"/>
          </ac:spMkLst>
        </pc:spChg>
        <pc:spChg chg="mod">
          <ac:chgData name="Wang, David" userId="5ba1598c-ec07-46f3-a0aa-a1cc2acb9765" providerId="ADAL" clId="{14C079B1-3763-444B-B216-374EF69EE7DF}" dt="2021-07-26T14:47:14.923" v="100521"/>
          <ac:spMkLst>
            <pc:docMk/>
            <pc:sldMk cId="1751580456" sldId="9178"/>
            <ac:spMk id="75" creationId="{6A0CE5E6-EBD3-4F0E-80E4-698B0E2FBF73}"/>
          </ac:spMkLst>
        </pc:spChg>
        <pc:spChg chg="mod">
          <ac:chgData name="Wang, David" userId="5ba1598c-ec07-46f3-a0aa-a1cc2acb9765" providerId="ADAL" clId="{14C079B1-3763-444B-B216-374EF69EE7DF}" dt="2021-07-26T14:47:14.923" v="100520"/>
          <ac:spMkLst>
            <pc:docMk/>
            <pc:sldMk cId="1751580456" sldId="9178"/>
            <ac:spMk id="76" creationId="{44AF42FA-7D2B-4628-814F-F8320941F9A8}"/>
          </ac:spMkLst>
        </pc:spChg>
        <pc:spChg chg="mod ord">
          <ac:chgData name="Wang, David" userId="5ba1598c-ec07-46f3-a0aa-a1cc2acb9765" providerId="ADAL" clId="{14C079B1-3763-444B-B216-374EF69EE7DF}" dt="2021-07-26T14:47:14.954" v="100535" actId="948"/>
          <ac:spMkLst>
            <pc:docMk/>
            <pc:sldMk cId="1751580456" sldId="9178"/>
            <ac:spMk id="78" creationId="{5809AACF-F5D2-4D6F-89BF-61C2001FEB70}"/>
          </ac:spMkLst>
        </pc:spChg>
        <pc:spChg chg="mod ord">
          <ac:chgData name="Wang, David" userId="5ba1598c-ec07-46f3-a0aa-a1cc2acb9765" providerId="ADAL" clId="{14C079B1-3763-444B-B216-374EF69EE7DF}" dt="2021-07-26T14:47:14.976" v="100555" actId="948"/>
          <ac:spMkLst>
            <pc:docMk/>
            <pc:sldMk cId="1751580456" sldId="9178"/>
            <ac:spMk id="79" creationId="{509D50B4-59CE-40E9-B457-846B84B8FDE9}"/>
          </ac:spMkLst>
        </pc:spChg>
        <pc:spChg chg="mod">
          <ac:chgData name="Wang, David" userId="5ba1598c-ec07-46f3-a0aa-a1cc2acb9765" providerId="ADAL" clId="{14C079B1-3763-444B-B216-374EF69EE7DF}" dt="2021-07-26T14:47:14.923" v="100522"/>
          <ac:spMkLst>
            <pc:docMk/>
            <pc:sldMk cId="1751580456" sldId="9178"/>
            <ac:spMk id="80" creationId="{A4D7374B-2C23-4273-A398-91DDE9F03672}"/>
          </ac:spMkLst>
        </pc:spChg>
        <pc:spChg chg="mod ord">
          <ac:chgData name="Wang, David" userId="5ba1598c-ec07-46f3-a0aa-a1cc2acb9765" providerId="ADAL" clId="{14C079B1-3763-444B-B216-374EF69EE7DF}" dt="2021-07-26T14:47:14.976" v="100554" actId="948"/>
          <ac:spMkLst>
            <pc:docMk/>
            <pc:sldMk cId="1751580456" sldId="9178"/>
            <ac:spMk id="81" creationId="{B85F7E2B-CFCA-4445-B16B-6B64CB34FCF9}"/>
          </ac:spMkLst>
        </pc:spChg>
        <pc:spChg chg="mod ord">
          <ac:chgData name="Wang, David" userId="5ba1598c-ec07-46f3-a0aa-a1cc2acb9765" providerId="ADAL" clId="{14C079B1-3763-444B-B216-374EF69EE7DF}" dt="2021-07-26T14:47:14.939" v="100533" actId="948"/>
          <ac:spMkLst>
            <pc:docMk/>
            <pc:sldMk cId="1751580456" sldId="9178"/>
            <ac:spMk id="82" creationId="{A33EA51A-7B3A-4FC8-97AC-69A42040ADF8}"/>
          </ac:spMkLst>
        </pc:spChg>
        <pc:spChg chg="mod">
          <ac:chgData name="Wang, David" userId="5ba1598c-ec07-46f3-a0aa-a1cc2acb9765" providerId="ADAL" clId="{14C079B1-3763-444B-B216-374EF69EE7DF}" dt="2021-07-26T14:47:14.907" v="100517"/>
          <ac:spMkLst>
            <pc:docMk/>
            <pc:sldMk cId="1751580456" sldId="9178"/>
            <ac:spMk id="83" creationId="{772A4F77-564E-457A-90EF-A16AC96C196C}"/>
          </ac:spMkLst>
        </pc:spChg>
        <pc:spChg chg="mod">
          <ac:chgData name="Wang, David" userId="5ba1598c-ec07-46f3-a0aa-a1cc2acb9765" providerId="ADAL" clId="{14C079B1-3763-444B-B216-374EF69EE7DF}" dt="2021-07-26T14:47:14.907" v="100516"/>
          <ac:spMkLst>
            <pc:docMk/>
            <pc:sldMk cId="1751580456" sldId="9178"/>
            <ac:spMk id="84" creationId="{1D104F53-9839-422F-BCBA-B8476B3FE58B}"/>
          </ac:spMkLst>
        </pc:spChg>
        <pc:spChg chg="mod">
          <ac:chgData name="Wang, David" userId="5ba1598c-ec07-46f3-a0aa-a1cc2acb9765" providerId="ADAL" clId="{14C079B1-3763-444B-B216-374EF69EE7DF}" dt="2021-07-26T14:47:14.923" v="100518"/>
          <ac:spMkLst>
            <pc:docMk/>
            <pc:sldMk cId="1751580456" sldId="9178"/>
            <ac:spMk id="85" creationId="{CD758341-5BBD-4B50-A9E1-2EBF852447D9}"/>
          </ac:spMkLst>
        </pc:spChg>
        <pc:spChg chg="mod">
          <ac:chgData name="Wang, David" userId="5ba1598c-ec07-46f3-a0aa-a1cc2acb9765" providerId="ADAL" clId="{14C079B1-3763-444B-B216-374EF69EE7DF}" dt="2021-07-26T14:47:14.907" v="100515"/>
          <ac:spMkLst>
            <pc:docMk/>
            <pc:sldMk cId="1751580456" sldId="9178"/>
            <ac:spMk id="86" creationId="{2036FF84-E471-4CB9-B777-6B6879D81FA5}"/>
          </ac:spMkLst>
        </pc:spChg>
        <pc:spChg chg="mod ord">
          <ac:chgData name="Wang, David" userId="5ba1598c-ec07-46f3-a0aa-a1cc2acb9765" providerId="ADAL" clId="{14C079B1-3763-444B-B216-374EF69EE7DF}" dt="2021-07-26T14:47:14.954" v="100538" actId="948"/>
          <ac:spMkLst>
            <pc:docMk/>
            <pc:sldMk cId="1751580456" sldId="9178"/>
            <ac:spMk id="87" creationId="{FC06A9A2-7C32-4A9B-96C6-90B5CC7CEDD5}"/>
          </ac:spMkLst>
        </pc:spChg>
        <pc:spChg chg="mod">
          <ac:chgData name="Wang, David" userId="5ba1598c-ec07-46f3-a0aa-a1cc2acb9765" providerId="ADAL" clId="{14C079B1-3763-444B-B216-374EF69EE7DF}" dt="2021-07-26T14:47:15.139" v="100599"/>
          <ac:spMkLst>
            <pc:docMk/>
            <pc:sldMk cId="1751580456" sldId="9178"/>
            <ac:spMk id="88" creationId="{4B2F6ECA-3DC1-4B7E-B41F-F10054EE5545}"/>
          </ac:spMkLst>
        </pc:spChg>
        <pc:spChg chg="add del mod modVis">
          <ac:chgData name="Wang, David" userId="5ba1598c-ec07-46f3-a0aa-a1cc2acb9765" providerId="ADAL" clId="{14C079B1-3763-444B-B216-374EF69EE7DF}" dt="2021-07-26T14:29:03.817" v="85644"/>
          <ac:spMkLst>
            <pc:docMk/>
            <pc:sldMk cId="1751580456" sldId="9178"/>
            <ac:spMk id="90" creationId="{5B5B912D-8FF4-4BD6-9F32-A9AECA0B4908}"/>
          </ac:spMkLst>
        </pc:spChg>
        <pc:spChg chg="add del mod modVis">
          <ac:chgData name="Wang, David" userId="5ba1598c-ec07-46f3-a0aa-a1cc2acb9765" providerId="ADAL" clId="{14C079B1-3763-444B-B216-374EF69EE7DF}" dt="2021-07-26T14:29:05.637" v="85745"/>
          <ac:spMkLst>
            <pc:docMk/>
            <pc:sldMk cId="1751580456" sldId="9178"/>
            <ac:spMk id="91" creationId="{16399EFE-F4EF-41AB-AE4D-59967CFA0CC4}"/>
          </ac:spMkLst>
        </pc:spChg>
        <pc:spChg chg="add del mod modVis">
          <ac:chgData name="Wang, David" userId="5ba1598c-ec07-46f3-a0aa-a1cc2acb9765" providerId="ADAL" clId="{14C079B1-3763-444B-B216-374EF69EE7DF}" dt="2021-07-26T14:29:06.708" v="85846"/>
          <ac:spMkLst>
            <pc:docMk/>
            <pc:sldMk cId="1751580456" sldId="9178"/>
            <ac:spMk id="92" creationId="{AE80D67E-DFFA-4471-B7AA-AC2A5C9DE036}"/>
          </ac:spMkLst>
        </pc:spChg>
        <pc:spChg chg="add del mod ord modVis">
          <ac:chgData name="Wang, David" userId="5ba1598c-ec07-46f3-a0aa-a1cc2acb9765" providerId="ADAL" clId="{14C079B1-3763-444B-B216-374EF69EE7DF}" dt="2021-07-26T14:29:24.846" v="86817"/>
          <ac:spMkLst>
            <pc:docMk/>
            <pc:sldMk cId="1751580456" sldId="9178"/>
            <ac:spMk id="93" creationId="{59B4E3DA-DD9B-485D-A869-E5BE09A64484}"/>
          </ac:spMkLst>
        </pc:spChg>
        <pc:spChg chg="add mod">
          <ac:chgData name="Wang, David" userId="5ba1598c-ec07-46f3-a0aa-a1cc2acb9765" providerId="ADAL" clId="{14C079B1-3763-444B-B216-374EF69EE7DF}" dt="2021-07-26T14:47:15.139" v="100600"/>
          <ac:spMkLst>
            <pc:docMk/>
            <pc:sldMk cId="1751580456" sldId="9178"/>
            <ac:spMk id="94" creationId="{50E83954-86A2-4AA5-BF14-FEC9DC8A3D6D}"/>
          </ac:spMkLst>
        </pc:spChg>
        <pc:spChg chg="add mod">
          <ac:chgData name="Wang, David" userId="5ba1598c-ec07-46f3-a0aa-a1cc2acb9765" providerId="ADAL" clId="{14C079B1-3763-444B-B216-374EF69EE7DF}" dt="2021-07-26T14:47:15.139" v="100601"/>
          <ac:spMkLst>
            <pc:docMk/>
            <pc:sldMk cId="1751580456" sldId="9178"/>
            <ac:spMk id="96" creationId="{D55EAE04-8C20-423E-9681-E0C9DE8C3998}"/>
          </ac:spMkLst>
        </pc:spChg>
        <pc:spChg chg="add mod">
          <ac:chgData name="Wang, David" userId="5ba1598c-ec07-46f3-a0aa-a1cc2acb9765" providerId="ADAL" clId="{14C079B1-3763-444B-B216-374EF69EE7DF}" dt="2021-07-26T14:47:15.139" v="100602"/>
          <ac:spMkLst>
            <pc:docMk/>
            <pc:sldMk cId="1751580456" sldId="9178"/>
            <ac:spMk id="98" creationId="{C07B2365-FDBB-4DDB-88C0-57CAFDB318F2}"/>
          </ac:spMkLst>
        </pc:spChg>
        <pc:spChg chg="add mod">
          <ac:chgData name="Wang, David" userId="5ba1598c-ec07-46f3-a0aa-a1cc2acb9765" providerId="ADAL" clId="{14C079B1-3763-444B-B216-374EF69EE7DF}" dt="2021-07-26T14:47:15.154" v="100603"/>
          <ac:spMkLst>
            <pc:docMk/>
            <pc:sldMk cId="1751580456" sldId="9178"/>
            <ac:spMk id="100" creationId="{E23C5155-E5FF-4A5F-AF5C-E522E58E461D}"/>
          </ac:spMkLst>
        </pc:spChg>
        <pc:spChg chg="add mod">
          <ac:chgData name="Wang, David" userId="5ba1598c-ec07-46f3-a0aa-a1cc2acb9765" providerId="ADAL" clId="{14C079B1-3763-444B-B216-374EF69EE7DF}" dt="2021-07-26T14:47:15.154" v="100604"/>
          <ac:spMkLst>
            <pc:docMk/>
            <pc:sldMk cId="1751580456" sldId="9178"/>
            <ac:spMk id="101" creationId="{35DF1D55-1068-44C7-B10A-6BA3B8EA534C}"/>
          </ac:spMkLst>
        </pc:spChg>
        <pc:spChg chg="add mod">
          <ac:chgData name="Wang, David" userId="5ba1598c-ec07-46f3-a0aa-a1cc2acb9765" providerId="ADAL" clId="{14C079B1-3763-444B-B216-374EF69EE7DF}" dt="2021-07-26T14:47:15.154" v="100605"/>
          <ac:spMkLst>
            <pc:docMk/>
            <pc:sldMk cId="1751580456" sldId="9178"/>
            <ac:spMk id="102" creationId="{1A425749-51E2-4932-BB3F-53AD5C053D93}"/>
          </ac:spMkLst>
        </pc:spChg>
        <pc:spChg chg="mod ord">
          <ac:chgData name="Wang, David" userId="5ba1598c-ec07-46f3-a0aa-a1cc2acb9765" providerId="ADAL" clId="{14C079B1-3763-444B-B216-374EF69EE7DF}" dt="2021-07-26T14:47:14.939" v="100525" actId="948"/>
          <ac:spMkLst>
            <pc:docMk/>
            <pc:sldMk cId="1751580456" sldId="9178"/>
            <ac:spMk id="103" creationId="{B6F2E3C9-5A91-46B0-9601-E545402709F3}"/>
          </ac:spMkLst>
        </pc:spChg>
        <pc:spChg chg="add mod">
          <ac:chgData name="Wang, David" userId="5ba1598c-ec07-46f3-a0aa-a1cc2acb9765" providerId="ADAL" clId="{14C079B1-3763-444B-B216-374EF69EE7DF}" dt="2021-07-26T14:47:15.154" v="100606"/>
          <ac:spMkLst>
            <pc:docMk/>
            <pc:sldMk cId="1751580456" sldId="9178"/>
            <ac:spMk id="105" creationId="{0584ACBD-B22B-4871-970D-6EFD253FFAC1}"/>
          </ac:spMkLst>
        </pc:spChg>
        <pc:spChg chg="add mod">
          <ac:chgData name="Wang, David" userId="5ba1598c-ec07-46f3-a0aa-a1cc2acb9765" providerId="ADAL" clId="{14C079B1-3763-444B-B216-374EF69EE7DF}" dt="2021-07-26T14:47:15.154" v="100607"/>
          <ac:spMkLst>
            <pc:docMk/>
            <pc:sldMk cId="1751580456" sldId="9178"/>
            <ac:spMk id="106" creationId="{95308AD5-2860-4B77-AEE1-62FA4F095217}"/>
          </ac:spMkLst>
        </pc:spChg>
        <pc:spChg chg="add mod">
          <ac:chgData name="Wang, David" userId="5ba1598c-ec07-46f3-a0aa-a1cc2acb9765" providerId="ADAL" clId="{14C079B1-3763-444B-B216-374EF69EE7DF}" dt="2021-07-26T14:47:15.108" v="100586"/>
          <ac:spMkLst>
            <pc:docMk/>
            <pc:sldMk cId="1751580456" sldId="9178"/>
            <ac:spMk id="107" creationId="{CBD8C678-3F22-46CC-985F-BC57835F039D}"/>
          </ac:spMkLst>
        </pc:spChg>
        <pc:spChg chg="add del mod modVis">
          <ac:chgData name="Wang, David" userId="5ba1598c-ec07-46f3-a0aa-a1cc2acb9765" providerId="ADAL" clId="{14C079B1-3763-444B-B216-374EF69EE7DF}" dt="2021-07-26T14:29:30.036" v="86930"/>
          <ac:spMkLst>
            <pc:docMk/>
            <pc:sldMk cId="1751580456" sldId="9178"/>
            <ac:spMk id="109" creationId="{40C8D93F-DFEE-462B-85C7-7C2A84CE77AF}"/>
          </ac:spMkLst>
        </pc:spChg>
        <pc:spChg chg="add del mod modVis">
          <ac:chgData name="Wang, David" userId="5ba1598c-ec07-46f3-a0aa-a1cc2acb9765" providerId="ADAL" clId="{14C079B1-3763-444B-B216-374EF69EE7DF}" dt="2021-07-26T14:29:31.476" v="87033"/>
          <ac:spMkLst>
            <pc:docMk/>
            <pc:sldMk cId="1751580456" sldId="9178"/>
            <ac:spMk id="110" creationId="{8CF97D9F-C7A7-49A4-B097-83F42BC53AD9}"/>
          </ac:spMkLst>
        </pc:spChg>
        <pc:spChg chg="add del mod modVis">
          <ac:chgData name="Wang, David" userId="5ba1598c-ec07-46f3-a0aa-a1cc2acb9765" providerId="ADAL" clId="{14C079B1-3763-444B-B216-374EF69EE7DF}" dt="2021-07-26T14:29:49.558" v="87582"/>
          <ac:spMkLst>
            <pc:docMk/>
            <pc:sldMk cId="1751580456" sldId="9178"/>
            <ac:spMk id="111" creationId="{185D95AB-B4E2-45D2-B5AE-4349AFA981CC}"/>
          </ac:spMkLst>
        </pc:spChg>
        <pc:spChg chg="add del mod modVis">
          <ac:chgData name="Wang, David" userId="5ba1598c-ec07-46f3-a0aa-a1cc2acb9765" providerId="ADAL" clId="{14C079B1-3763-444B-B216-374EF69EE7DF}" dt="2021-07-26T14:30:52.871" v="88487"/>
          <ac:spMkLst>
            <pc:docMk/>
            <pc:sldMk cId="1751580456" sldId="9178"/>
            <ac:spMk id="112" creationId="{A39440E6-95E1-4383-ACB8-21FD3E7D8046}"/>
          </ac:spMkLst>
        </pc:spChg>
        <pc:spChg chg="add del mod modVis">
          <ac:chgData name="Wang, David" userId="5ba1598c-ec07-46f3-a0aa-a1cc2acb9765" providerId="ADAL" clId="{14C079B1-3763-444B-B216-374EF69EE7DF}" dt="2021-07-26T14:30:53.905" v="88588"/>
          <ac:spMkLst>
            <pc:docMk/>
            <pc:sldMk cId="1751580456" sldId="9178"/>
            <ac:spMk id="113" creationId="{72BB810F-3520-4687-9B75-82D2989EBC20}"/>
          </ac:spMkLst>
        </pc:spChg>
        <pc:spChg chg="add mod">
          <ac:chgData name="Wang, David" userId="5ba1598c-ec07-46f3-a0aa-a1cc2acb9765" providerId="ADAL" clId="{14C079B1-3763-444B-B216-374EF69EE7DF}" dt="2021-07-26T14:47:15.154" v="100608"/>
          <ac:spMkLst>
            <pc:docMk/>
            <pc:sldMk cId="1751580456" sldId="9178"/>
            <ac:spMk id="114" creationId="{AAA1948D-EB6D-4535-AEB7-95BD9F3E12A6}"/>
          </ac:spMkLst>
        </pc:spChg>
        <pc:spChg chg="add del mod modVis">
          <ac:chgData name="Wang, David" userId="5ba1598c-ec07-46f3-a0aa-a1cc2acb9765" providerId="ADAL" clId="{14C079B1-3763-444B-B216-374EF69EE7DF}" dt="2021-07-26T14:31:00.566" v="88897"/>
          <ac:spMkLst>
            <pc:docMk/>
            <pc:sldMk cId="1751580456" sldId="9178"/>
            <ac:spMk id="115" creationId="{7D75F502-6633-4F93-9E0B-88C54A622A80}"/>
          </ac:spMkLst>
        </pc:spChg>
        <pc:spChg chg="add del mod modVis">
          <ac:chgData name="Wang, David" userId="5ba1598c-ec07-46f3-a0aa-a1cc2acb9765" providerId="ADAL" clId="{14C079B1-3763-444B-B216-374EF69EE7DF}" dt="2021-07-26T14:31:01.499" v="89206"/>
          <ac:spMkLst>
            <pc:docMk/>
            <pc:sldMk cId="1751580456" sldId="9178"/>
            <ac:spMk id="116" creationId="{6E5F98C6-7D03-4F76-BC65-B192F9E5F47F}"/>
          </ac:spMkLst>
        </pc:spChg>
        <pc:spChg chg="add del mod modVis">
          <ac:chgData name="Wang, David" userId="5ba1598c-ec07-46f3-a0aa-a1cc2acb9765" providerId="ADAL" clId="{14C079B1-3763-444B-B216-374EF69EE7DF}" dt="2021-07-26T14:31:09.741" v="89309"/>
          <ac:spMkLst>
            <pc:docMk/>
            <pc:sldMk cId="1751580456" sldId="9178"/>
            <ac:spMk id="117" creationId="{9E8B9050-841B-43B5-9B93-CAB569ADB3AC}"/>
          </ac:spMkLst>
        </pc:spChg>
        <pc:spChg chg="add del mod modVis">
          <ac:chgData name="Wang, David" userId="5ba1598c-ec07-46f3-a0aa-a1cc2acb9765" providerId="ADAL" clId="{14C079B1-3763-444B-B216-374EF69EE7DF}" dt="2021-07-26T14:31:28.623" v="89617"/>
          <ac:spMkLst>
            <pc:docMk/>
            <pc:sldMk cId="1751580456" sldId="9178"/>
            <ac:spMk id="118" creationId="{FBD4D06A-D7DB-42A1-B88D-D8300C99D1C7}"/>
          </ac:spMkLst>
        </pc:spChg>
        <pc:spChg chg="add del mod modVis">
          <ac:chgData name="Wang, David" userId="5ba1598c-ec07-46f3-a0aa-a1cc2acb9765" providerId="ADAL" clId="{14C079B1-3763-444B-B216-374EF69EE7DF}" dt="2021-07-26T14:31:42.549" v="89907"/>
          <ac:spMkLst>
            <pc:docMk/>
            <pc:sldMk cId="1751580456" sldId="9178"/>
            <ac:spMk id="119" creationId="{C46E18AC-5D8B-44A3-A06B-B438133F4225}"/>
          </ac:spMkLst>
        </pc:spChg>
        <pc:spChg chg="add del mod modVis">
          <ac:chgData name="Wang, David" userId="5ba1598c-ec07-46f3-a0aa-a1cc2acb9765" providerId="ADAL" clId="{14C079B1-3763-444B-B216-374EF69EE7DF}" dt="2021-07-26T14:31:45.090" v="90007"/>
          <ac:spMkLst>
            <pc:docMk/>
            <pc:sldMk cId="1751580456" sldId="9178"/>
            <ac:spMk id="120" creationId="{8722A865-E0FA-481C-BA7F-2E6371E1E415}"/>
          </ac:spMkLst>
        </pc:spChg>
        <pc:spChg chg="add mod ord">
          <ac:chgData name="Wang, David" userId="5ba1598c-ec07-46f3-a0aa-a1cc2acb9765" providerId="ADAL" clId="{14C079B1-3763-444B-B216-374EF69EE7DF}" dt="2021-07-26T14:46:16.620" v="98991"/>
          <ac:spMkLst>
            <pc:docMk/>
            <pc:sldMk cId="1751580456" sldId="9178"/>
            <ac:spMk id="123" creationId="{73C74C17-C12F-47A9-BA55-605C60B66A17}"/>
          </ac:spMkLst>
        </pc:spChg>
        <pc:spChg chg="add del mod modVis">
          <ac:chgData name="Wang, David" userId="5ba1598c-ec07-46f3-a0aa-a1cc2acb9765" providerId="ADAL" clId="{14C079B1-3763-444B-B216-374EF69EE7DF}" dt="2021-07-26T14:41:07.902" v="90992"/>
          <ac:spMkLst>
            <pc:docMk/>
            <pc:sldMk cId="1751580456" sldId="9178"/>
            <ac:spMk id="124" creationId="{A0FBF070-2FDC-43E4-87FA-9E99EE36D1C4}"/>
          </ac:spMkLst>
        </pc:spChg>
        <pc:spChg chg="add del mod modVis">
          <ac:chgData name="Wang, David" userId="5ba1598c-ec07-46f3-a0aa-a1cc2acb9765" providerId="ADAL" clId="{14C079B1-3763-444B-B216-374EF69EE7DF}" dt="2021-07-26T14:41:13.099" v="91168"/>
          <ac:spMkLst>
            <pc:docMk/>
            <pc:sldMk cId="1751580456" sldId="9178"/>
            <ac:spMk id="125" creationId="{D1AFB954-C959-4D37-AE01-F9B46F70F13C}"/>
          </ac:spMkLst>
        </pc:spChg>
        <pc:spChg chg="add del mod modVis">
          <ac:chgData name="Wang, David" userId="5ba1598c-ec07-46f3-a0aa-a1cc2acb9765" providerId="ADAL" clId="{14C079B1-3763-444B-B216-374EF69EE7DF}" dt="2021-07-26T14:41:16.735" v="91275"/>
          <ac:spMkLst>
            <pc:docMk/>
            <pc:sldMk cId="1751580456" sldId="9178"/>
            <ac:spMk id="126" creationId="{DDF32CD5-3355-4D58-A60B-FB082670E9FA}"/>
          </ac:spMkLst>
        </pc:spChg>
        <pc:spChg chg="add del mod modVis">
          <ac:chgData name="Wang, David" userId="5ba1598c-ec07-46f3-a0aa-a1cc2acb9765" providerId="ADAL" clId="{14C079B1-3763-444B-B216-374EF69EE7DF}" dt="2021-07-26T14:42:09.664" v="91871"/>
          <ac:spMkLst>
            <pc:docMk/>
            <pc:sldMk cId="1751580456" sldId="9178"/>
            <ac:spMk id="127" creationId="{9B0FB3DC-90F7-4CBD-94A2-75CAB7DBD4FD}"/>
          </ac:spMkLst>
        </pc:spChg>
        <pc:spChg chg="add del mod modVis">
          <ac:chgData name="Wang, David" userId="5ba1598c-ec07-46f3-a0aa-a1cc2acb9765" providerId="ADAL" clId="{14C079B1-3763-444B-B216-374EF69EE7DF}" dt="2021-07-26T14:42:15.342" v="92120"/>
          <ac:spMkLst>
            <pc:docMk/>
            <pc:sldMk cId="1751580456" sldId="9178"/>
            <ac:spMk id="128" creationId="{DF9CF3C2-3054-48D4-BE16-D58D3EDBB3A0}"/>
          </ac:spMkLst>
        </pc:spChg>
        <pc:spChg chg="add del mod modVis">
          <ac:chgData name="Wang, David" userId="5ba1598c-ec07-46f3-a0aa-a1cc2acb9765" providerId="ADAL" clId="{14C079B1-3763-444B-B216-374EF69EE7DF}" dt="2021-07-26T14:43:33.916" v="93404"/>
          <ac:spMkLst>
            <pc:docMk/>
            <pc:sldMk cId="1751580456" sldId="9178"/>
            <ac:spMk id="129" creationId="{E186F108-CA7B-4CD9-9F31-9F8170C95484}"/>
          </ac:spMkLst>
        </pc:spChg>
        <pc:spChg chg="add del mod modVis">
          <ac:chgData name="Wang, David" userId="5ba1598c-ec07-46f3-a0aa-a1cc2acb9765" providerId="ADAL" clId="{14C079B1-3763-444B-B216-374EF69EE7DF}" dt="2021-07-26T14:43:46.890" v="94161"/>
          <ac:spMkLst>
            <pc:docMk/>
            <pc:sldMk cId="1751580456" sldId="9178"/>
            <ac:spMk id="131" creationId="{A62A8FB3-5EAB-43E2-B29B-C6DD50488A30}"/>
          </ac:spMkLst>
        </pc:spChg>
        <pc:spChg chg="add mod ord">
          <ac:chgData name="Wang, David" userId="5ba1598c-ec07-46f3-a0aa-a1cc2acb9765" providerId="ADAL" clId="{14C079B1-3763-444B-B216-374EF69EE7DF}" dt="2021-07-26T14:47:14.954" v="100543" actId="948"/>
          <ac:spMkLst>
            <pc:docMk/>
            <pc:sldMk cId="1751580456" sldId="9178"/>
            <ac:spMk id="132" creationId="{30718F8D-1835-4D3A-A44D-06A74C0EE21A}"/>
          </ac:spMkLst>
        </pc:spChg>
        <pc:spChg chg="add del mod modVis">
          <ac:chgData name="Wang, David" userId="5ba1598c-ec07-46f3-a0aa-a1cc2acb9765" providerId="ADAL" clId="{14C079B1-3763-444B-B216-374EF69EE7DF}" dt="2021-07-26T14:43:58.977" v="94662"/>
          <ac:spMkLst>
            <pc:docMk/>
            <pc:sldMk cId="1751580456" sldId="9178"/>
            <ac:spMk id="133" creationId="{07989BE7-00D6-46CB-986F-5C51CC2D49FF}"/>
          </ac:spMkLst>
        </pc:spChg>
        <pc:spChg chg="add del mod modVis">
          <ac:chgData name="Wang, David" userId="5ba1598c-ec07-46f3-a0aa-a1cc2acb9765" providerId="ADAL" clId="{14C079B1-3763-444B-B216-374EF69EE7DF}" dt="2021-07-26T14:44:15.305" v="95501"/>
          <ac:spMkLst>
            <pc:docMk/>
            <pc:sldMk cId="1751580456" sldId="9178"/>
            <ac:spMk id="134" creationId="{128781F6-B6A6-4206-95D8-04510E8DD3E3}"/>
          </ac:spMkLst>
        </pc:spChg>
        <pc:spChg chg="add del mod ord modVis">
          <ac:chgData name="Wang, David" userId="5ba1598c-ec07-46f3-a0aa-a1cc2acb9765" providerId="ADAL" clId="{14C079B1-3763-444B-B216-374EF69EE7DF}" dt="2021-07-26T14:44:38.795" v="95827"/>
          <ac:spMkLst>
            <pc:docMk/>
            <pc:sldMk cId="1751580456" sldId="9178"/>
            <ac:spMk id="135" creationId="{89E49D08-E9BD-4D68-8672-8549E7745BDA}"/>
          </ac:spMkLst>
        </pc:spChg>
        <pc:spChg chg="mod ord">
          <ac:chgData name="Wang, David" userId="5ba1598c-ec07-46f3-a0aa-a1cc2acb9765" providerId="ADAL" clId="{14C079B1-3763-444B-B216-374EF69EE7DF}" dt="2021-07-26T14:47:14.954" v="100541" actId="948"/>
          <ac:spMkLst>
            <pc:docMk/>
            <pc:sldMk cId="1751580456" sldId="9178"/>
            <ac:spMk id="136" creationId="{A52C381E-E440-4EB7-A655-A5267A1DB525}"/>
          </ac:spMkLst>
        </pc:spChg>
        <pc:spChg chg="add mod ord">
          <ac:chgData name="Wang, David" userId="5ba1598c-ec07-46f3-a0aa-a1cc2acb9765" providerId="ADAL" clId="{14C079B1-3763-444B-B216-374EF69EE7DF}" dt="2021-07-26T14:47:14.954" v="100544" actId="948"/>
          <ac:spMkLst>
            <pc:docMk/>
            <pc:sldMk cId="1751580456" sldId="9178"/>
            <ac:spMk id="137" creationId="{B70C5904-CE1B-44E1-8B02-62ABA3AC8ADA}"/>
          </ac:spMkLst>
        </pc:spChg>
        <pc:spChg chg="mod ord">
          <ac:chgData name="Wang, David" userId="5ba1598c-ec07-46f3-a0aa-a1cc2acb9765" providerId="ADAL" clId="{14C079B1-3763-444B-B216-374EF69EE7DF}" dt="2021-07-26T14:46:16.583" v="98923"/>
          <ac:spMkLst>
            <pc:docMk/>
            <pc:sldMk cId="1751580456" sldId="9178"/>
            <ac:spMk id="138" creationId="{54E6A56B-A12B-4533-8B43-4D6B2E60D71E}"/>
          </ac:spMkLst>
        </pc:spChg>
        <pc:spChg chg="add mod ord">
          <ac:chgData name="Wang, David" userId="5ba1598c-ec07-46f3-a0aa-a1cc2acb9765" providerId="ADAL" clId="{14C079B1-3763-444B-B216-374EF69EE7DF}" dt="2021-07-26T14:47:14.954" v="100545" actId="948"/>
          <ac:spMkLst>
            <pc:docMk/>
            <pc:sldMk cId="1751580456" sldId="9178"/>
            <ac:spMk id="139" creationId="{90244A82-975A-4507-B996-1BC6B882AF7D}"/>
          </ac:spMkLst>
        </pc:spChg>
        <pc:spChg chg="add mod ord">
          <ac:chgData name="Wang, David" userId="5ba1598c-ec07-46f3-a0aa-a1cc2acb9765" providerId="ADAL" clId="{14C079B1-3763-444B-B216-374EF69EE7DF}" dt="2021-07-26T14:46:37.250" v="99534" actId="1076"/>
          <ac:spMkLst>
            <pc:docMk/>
            <pc:sldMk cId="1751580456" sldId="9178"/>
            <ac:spMk id="140" creationId="{4E52B302-5EA2-4021-A9BC-F0D4C228E9EF}"/>
          </ac:spMkLst>
        </pc:spChg>
        <pc:spChg chg="add del mod modVis">
          <ac:chgData name="Wang, David" userId="5ba1598c-ec07-46f3-a0aa-a1cc2acb9765" providerId="ADAL" clId="{14C079B1-3763-444B-B216-374EF69EE7DF}" dt="2021-07-26T14:45:25.480" v="96762"/>
          <ac:spMkLst>
            <pc:docMk/>
            <pc:sldMk cId="1751580456" sldId="9178"/>
            <ac:spMk id="141" creationId="{A412D7CB-37BF-45C9-A7DA-0FC0F17D3720}"/>
          </ac:spMkLst>
        </pc:spChg>
        <pc:spChg chg="add del mod ord modVis">
          <ac:chgData name="Wang, David" userId="5ba1598c-ec07-46f3-a0aa-a1cc2acb9765" providerId="ADAL" clId="{14C079B1-3763-444B-B216-374EF69EE7DF}" dt="2021-07-26T14:45:38.903" v="97243"/>
          <ac:spMkLst>
            <pc:docMk/>
            <pc:sldMk cId="1751580456" sldId="9178"/>
            <ac:spMk id="142" creationId="{836F7F70-8D5A-4610-98F0-CCD713EC5B1E}"/>
          </ac:spMkLst>
        </pc:spChg>
        <pc:spChg chg="add mod ord">
          <ac:chgData name="Wang, David" userId="5ba1598c-ec07-46f3-a0aa-a1cc2acb9765" providerId="ADAL" clId="{14C079B1-3763-444B-B216-374EF69EE7DF}" dt="2021-07-26T14:46:37.250" v="99528" actId="1076"/>
          <ac:spMkLst>
            <pc:docMk/>
            <pc:sldMk cId="1751580456" sldId="9178"/>
            <ac:spMk id="143" creationId="{6A498487-D515-407B-AEFE-6204CBF7E8CE}"/>
          </ac:spMkLst>
        </pc:spChg>
        <pc:spChg chg="add mod ord">
          <ac:chgData name="Wang, David" userId="5ba1598c-ec07-46f3-a0aa-a1cc2acb9765" providerId="ADAL" clId="{14C079B1-3763-444B-B216-374EF69EE7DF}" dt="2021-07-26T14:47:15.092" v="100563"/>
          <ac:spMkLst>
            <pc:docMk/>
            <pc:sldMk cId="1751580456" sldId="9178"/>
            <ac:spMk id="144" creationId="{67DD37A3-C989-4AA5-A2B2-0389316390E4}"/>
          </ac:spMkLst>
        </pc:spChg>
        <pc:spChg chg="add del mod ord modVis">
          <ac:chgData name="Wang, David" userId="5ba1598c-ec07-46f3-a0aa-a1cc2acb9765" providerId="ADAL" clId="{14C079B1-3763-444B-B216-374EF69EE7DF}" dt="2021-07-26T14:45:51.056" v="97908"/>
          <ac:spMkLst>
            <pc:docMk/>
            <pc:sldMk cId="1751580456" sldId="9178"/>
            <ac:spMk id="145" creationId="{2F05FCE5-8CC8-4235-B724-FF71EFD1272C}"/>
          </ac:spMkLst>
        </pc:spChg>
        <pc:spChg chg="add mod ord">
          <ac:chgData name="Wang, David" userId="5ba1598c-ec07-46f3-a0aa-a1cc2acb9765" providerId="ADAL" clId="{14C079B1-3763-444B-B216-374EF69EE7DF}" dt="2021-07-26T14:46:37.250" v="99522" actId="1076"/>
          <ac:spMkLst>
            <pc:docMk/>
            <pc:sldMk cId="1751580456" sldId="9178"/>
            <ac:spMk id="146" creationId="{EECC7E13-C141-4189-9488-ECA067C82897}"/>
          </ac:spMkLst>
        </pc:spChg>
        <pc:spChg chg="add mod ord">
          <ac:chgData name="Wang, David" userId="5ba1598c-ec07-46f3-a0aa-a1cc2acb9765" providerId="ADAL" clId="{14C079B1-3763-444B-B216-374EF69EE7DF}" dt="2021-07-26T14:47:14.970" v="100546" actId="948"/>
          <ac:spMkLst>
            <pc:docMk/>
            <pc:sldMk cId="1751580456" sldId="9178"/>
            <ac:spMk id="147" creationId="{201B6409-8B4A-4161-A820-A78A5830C9F9}"/>
          </ac:spMkLst>
        </pc:spChg>
        <pc:spChg chg="add mod ord">
          <ac:chgData name="Wang, David" userId="5ba1598c-ec07-46f3-a0aa-a1cc2acb9765" providerId="ADAL" clId="{14C079B1-3763-444B-B216-374EF69EE7DF}" dt="2021-07-26T14:47:15.108" v="100571"/>
          <ac:spMkLst>
            <pc:docMk/>
            <pc:sldMk cId="1751580456" sldId="9178"/>
            <ac:spMk id="149" creationId="{FCDE605D-49F7-460F-B3C7-50CD17D0FA38}"/>
          </ac:spMkLst>
        </pc:spChg>
        <pc:spChg chg="mod ord">
          <ac:chgData name="Wang, David" userId="5ba1598c-ec07-46f3-a0aa-a1cc2acb9765" providerId="ADAL" clId="{14C079B1-3763-444B-B216-374EF69EE7DF}" dt="2021-07-26T14:47:14.954" v="100540" actId="948"/>
          <ac:spMkLst>
            <pc:docMk/>
            <pc:sldMk cId="1751580456" sldId="9178"/>
            <ac:spMk id="150" creationId="{CBA92872-647E-4582-A6F6-752B9702CB82}"/>
          </ac:spMkLst>
        </pc:spChg>
        <pc:spChg chg="mod ord">
          <ac:chgData name="Wang, David" userId="5ba1598c-ec07-46f3-a0aa-a1cc2acb9765" providerId="ADAL" clId="{14C079B1-3763-444B-B216-374EF69EE7DF}" dt="2021-07-26T14:46:16.598" v="98939"/>
          <ac:spMkLst>
            <pc:docMk/>
            <pc:sldMk cId="1751580456" sldId="9178"/>
            <ac:spMk id="152" creationId="{11B73804-F804-4B40-851D-800A5E795C0F}"/>
          </ac:spMkLst>
        </pc:spChg>
        <pc:spChg chg="mod ord">
          <ac:chgData name="Wang, David" userId="5ba1598c-ec07-46f3-a0aa-a1cc2acb9765" providerId="ADAL" clId="{14C079B1-3763-444B-B216-374EF69EE7DF}" dt="2021-07-26T14:47:14.954" v="100542" actId="948"/>
          <ac:spMkLst>
            <pc:docMk/>
            <pc:sldMk cId="1751580456" sldId="9178"/>
            <ac:spMk id="153" creationId="{94078093-2FDE-411E-BD1E-9175702D3DC3}"/>
          </ac:spMkLst>
        </pc:spChg>
        <pc:spChg chg="add mod ord">
          <ac:chgData name="Wang, David" userId="5ba1598c-ec07-46f3-a0aa-a1cc2acb9765" providerId="ADAL" clId="{14C079B1-3763-444B-B216-374EF69EE7DF}" dt="2021-07-26T14:47:15.108" v="100579"/>
          <ac:spMkLst>
            <pc:docMk/>
            <pc:sldMk cId="1751580456" sldId="9178"/>
            <ac:spMk id="154" creationId="{C17C0C10-559B-4281-952D-4888B5C1C63B}"/>
          </ac:spMkLst>
        </pc:spChg>
        <pc:spChg chg="mod ord">
          <ac:chgData name="Wang, David" userId="5ba1598c-ec07-46f3-a0aa-a1cc2acb9765" providerId="ADAL" clId="{14C079B1-3763-444B-B216-374EF69EE7DF}" dt="2021-07-26T14:46:16.583" v="98917"/>
          <ac:spMkLst>
            <pc:docMk/>
            <pc:sldMk cId="1751580456" sldId="9178"/>
            <ac:spMk id="155" creationId="{A76BC2B6-5DE1-478B-8FFA-9CE5B3B32DC8}"/>
          </ac:spMkLst>
        </pc:spChg>
        <pc:spChg chg="add del mod modVis">
          <ac:chgData name="Wang, David" userId="5ba1598c-ec07-46f3-a0aa-a1cc2acb9765" providerId="ADAL" clId="{14C079B1-3763-444B-B216-374EF69EE7DF}" dt="2021-07-26T14:46:54.351" v="100179" actId="962"/>
          <ac:spMkLst>
            <pc:docMk/>
            <pc:sldMk cId="1751580456" sldId="9178"/>
            <ac:spMk id="158" creationId="{7A573256-9885-4DDC-B031-DFA4AF1FEB0C}"/>
          </ac:spMkLst>
        </pc:spChg>
        <pc:spChg chg="add del mod modVis">
          <ac:chgData name="Wang, David" userId="5ba1598c-ec07-46f3-a0aa-a1cc2acb9765" providerId="ADAL" clId="{14C079B1-3763-444B-B216-374EF69EE7DF}" dt="2021-07-26T14:47:03.699" v="100510"/>
          <ac:spMkLst>
            <pc:docMk/>
            <pc:sldMk cId="1751580456" sldId="9178"/>
            <ac:spMk id="159" creationId="{3CA10942-41FF-4312-9E3F-D278C1B9AFBC}"/>
          </ac:spMkLst>
        </pc:spChg>
        <pc:graphicFrameChg chg="mod ord">
          <ac:chgData name="Wang, David" userId="5ba1598c-ec07-46f3-a0aa-a1cc2acb9765" providerId="ADAL" clId="{14C079B1-3763-444B-B216-374EF69EE7DF}" dt="2021-07-26T14:47:15.239" v="100610"/>
          <ac:graphicFrameMkLst>
            <pc:docMk/>
            <pc:sldMk cId="1751580456" sldId="9178"/>
            <ac:graphicFrameMk id="22" creationId="{6463FF10-63C4-4C8A-99D4-C218E23160EF}"/>
          </ac:graphicFrameMkLst>
        </pc:graphicFrameChg>
        <pc:picChg chg="mod">
          <ac:chgData name="Wang, David" userId="5ba1598c-ec07-46f3-a0aa-a1cc2acb9765" providerId="ADAL" clId="{14C079B1-3763-444B-B216-374EF69EE7DF}" dt="2021-07-26T14:46:16.620" v="98982"/>
          <ac:picMkLst>
            <pc:docMk/>
            <pc:sldMk cId="1751580456" sldId="9178"/>
            <ac:picMk id="95" creationId="{3CDB9FD5-FB46-4129-A9DE-C9F56505E655}"/>
          </ac:picMkLst>
        </pc:picChg>
        <pc:picChg chg="mod">
          <ac:chgData name="Wang, David" userId="5ba1598c-ec07-46f3-a0aa-a1cc2acb9765" providerId="ADAL" clId="{14C079B1-3763-444B-B216-374EF69EE7DF}" dt="2021-07-26T14:46:16.620" v="98983"/>
          <ac:picMkLst>
            <pc:docMk/>
            <pc:sldMk cId="1751580456" sldId="9178"/>
            <ac:picMk id="97" creationId="{6D02C7CD-D0BD-4585-8B00-F8FD0EE00E1D}"/>
          </ac:picMkLst>
        </pc:picChg>
        <pc:picChg chg="mod ord">
          <ac:chgData name="Wang, David" userId="5ba1598c-ec07-46f3-a0aa-a1cc2acb9765" providerId="ADAL" clId="{14C079B1-3763-444B-B216-374EF69EE7DF}" dt="2021-07-26T14:46:16.620" v="98985"/>
          <ac:picMkLst>
            <pc:docMk/>
            <pc:sldMk cId="1751580456" sldId="9178"/>
            <ac:picMk id="99" creationId="{4C0CA151-5400-4E58-A5F4-E044EFFAA587}"/>
          </ac:picMkLst>
        </pc:picChg>
        <pc:picChg chg="mod ord">
          <ac:chgData name="Wang, David" userId="5ba1598c-ec07-46f3-a0aa-a1cc2acb9765" providerId="ADAL" clId="{14C079B1-3763-444B-B216-374EF69EE7DF}" dt="2021-07-26T14:46:16.620" v="98987"/>
          <ac:picMkLst>
            <pc:docMk/>
            <pc:sldMk cId="1751580456" sldId="9178"/>
            <ac:picMk id="104" creationId="{EA99B191-5D84-4EF4-A264-70B8DF0FD748}"/>
          </ac:picMkLst>
        </pc:picChg>
        <pc:picChg chg="add mod ord">
          <ac:chgData name="Wang, David" userId="5ba1598c-ec07-46f3-a0aa-a1cc2acb9765" providerId="ADAL" clId="{14C079B1-3763-444B-B216-374EF69EE7DF}" dt="2021-07-26T14:46:16.620" v="98989"/>
          <ac:picMkLst>
            <pc:docMk/>
            <pc:sldMk cId="1751580456" sldId="9178"/>
            <ac:picMk id="130" creationId="{B78A4931-BAE5-4658-A98F-A183868892E3}"/>
          </ac:picMkLst>
        </pc:picChg>
        <pc:cxnChg chg="add mod ord">
          <ac:chgData name="Wang, David" userId="5ba1598c-ec07-46f3-a0aa-a1cc2acb9765" providerId="ADAL" clId="{14C079B1-3763-444B-B216-374EF69EE7DF}" dt="2021-07-26T14:46:37.235" v="99486" actId="1076"/>
          <ac:cxnSpMkLst>
            <pc:docMk/>
            <pc:sldMk cId="1751580456" sldId="9178"/>
            <ac:cxnSpMk id="8" creationId="{0BB67701-7BDE-4B94-BB90-BA4C7AAF4EBC}"/>
          </ac:cxnSpMkLst>
        </pc:cxnChg>
        <pc:cxnChg chg="mod ord">
          <ac:chgData name="Wang, David" userId="5ba1598c-ec07-46f3-a0aa-a1cc2acb9765" providerId="ADAL" clId="{14C079B1-3763-444B-B216-374EF69EE7DF}" dt="2021-07-26T14:46:37.250" v="99508" actId="1076"/>
          <ac:cxnSpMkLst>
            <pc:docMk/>
            <pc:sldMk cId="1751580456" sldId="9178"/>
            <ac:cxnSpMk id="24" creationId="{80452201-7237-4368-9C12-1C718F248397}"/>
          </ac:cxnSpMkLst>
        </pc:cxnChg>
        <pc:cxnChg chg="mod ord">
          <ac:chgData name="Wang, David" userId="5ba1598c-ec07-46f3-a0aa-a1cc2acb9765" providerId="ADAL" clId="{14C079B1-3763-444B-B216-374EF69EE7DF}" dt="2021-07-26T14:46:37.250" v="99500" actId="1076"/>
          <ac:cxnSpMkLst>
            <pc:docMk/>
            <pc:sldMk cId="1751580456" sldId="9178"/>
            <ac:cxnSpMk id="25" creationId="{C20AD19C-90C1-474B-A0A9-32DB02E0E074}"/>
          </ac:cxnSpMkLst>
        </pc:cxnChg>
        <pc:cxnChg chg="mod ord">
          <ac:chgData name="Wang, David" userId="5ba1598c-ec07-46f3-a0aa-a1cc2acb9765" providerId="ADAL" clId="{14C079B1-3763-444B-B216-374EF69EE7DF}" dt="2021-07-26T14:46:37.235" v="99496" actId="1076"/>
          <ac:cxnSpMkLst>
            <pc:docMk/>
            <pc:sldMk cId="1751580456" sldId="9178"/>
            <ac:cxnSpMk id="26" creationId="{3E07D79C-C768-4D31-A08A-E1C90D0183F6}"/>
          </ac:cxnSpMkLst>
        </pc:cxnChg>
        <pc:cxnChg chg="mod ord">
          <ac:chgData name="Wang, David" userId="5ba1598c-ec07-46f3-a0aa-a1cc2acb9765" providerId="ADAL" clId="{14C079B1-3763-444B-B216-374EF69EE7DF}" dt="2021-07-26T14:46:37.235" v="99492" actId="1076"/>
          <ac:cxnSpMkLst>
            <pc:docMk/>
            <pc:sldMk cId="1751580456" sldId="9178"/>
            <ac:cxnSpMk id="27" creationId="{53F07609-9884-4F34-A273-A9BDBF1C6E23}"/>
          </ac:cxnSpMkLst>
        </pc:cxnChg>
        <pc:cxnChg chg="mod ord">
          <ac:chgData name="Wang, David" userId="5ba1598c-ec07-46f3-a0aa-a1cc2acb9765" providerId="ADAL" clId="{14C079B1-3763-444B-B216-374EF69EE7DF}" dt="2021-07-26T14:46:37.235" v="99490" actId="1076"/>
          <ac:cxnSpMkLst>
            <pc:docMk/>
            <pc:sldMk cId="1751580456" sldId="9178"/>
            <ac:cxnSpMk id="28" creationId="{A393828D-F86E-43AD-8498-D95067966B99}"/>
          </ac:cxnSpMkLst>
        </pc:cxnChg>
        <pc:cxnChg chg="mod ord">
          <ac:chgData name="Wang, David" userId="5ba1598c-ec07-46f3-a0aa-a1cc2acb9765" providerId="ADAL" clId="{14C079B1-3763-444B-B216-374EF69EE7DF}" dt="2021-07-26T14:46:37.235" v="99468" actId="1076"/>
          <ac:cxnSpMkLst>
            <pc:docMk/>
            <pc:sldMk cId="1751580456" sldId="9178"/>
            <ac:cxnSpMk id="29" creationId="{C8FCDD04-2263-4429-8331-2BDC1BD44C1D}"/>
          </ac:cxnSpMkLst>
        </pc:cxnChg>
        <pc:cxnChg chg="mod ord">
          <ac:chgData name="Wang, David" userId="5ba1598c-ec07-46f3-a0aa-a1cc2acb9765" providerId="ADAL" clId="{14C079B1-3763-444B-B216-374EF69EE7DF}" dt="2021-07-26T14:46:37.235" v="99466" actId="1076"/>
          <ac:cxnSpMkLst>
            <pc:docMk/>
            <pc:sldMk cId="1751580456" sldId="9178"/>
            <ac:cxnSpMk id="30" creationId="{BD89C9D9-EE50-4D13-8B10-38A37497D7AB}"/>
          </ac:cxnSpMkLst>
        </pc:cxnChg>
        <pc:cxnChg chg="mod ord">
          <ac:chgData name="Wang, David" userId="5ba1598c-ec07-46f3-a0aa-a1cc2acb9765" providerId="ADAL" clId="{14C079B1-3763-444B-B216-374EF69EE7DF}" dt="2021-07-26T14:46:37.219" v="99464" actId="1076"/>
          <ac:cxnSpMkLst>
            <pc:docMk/>
            <pc:sldMk cId="1751580456" sldId="9178"/>
            <ac:cxnSpMk id="31" creationId="{D4DC1538-9D32-4D12-8213-C7937AEAF560}"/>
          </ac:cxnSpMkLst>
        </pc:cxnChg>
        <pc:cxnChg chg="mod ord">
          <ac:chgData name="Wang, David" userId="5ba1598c-ec07-46f3-a0aa-a1cc2acb9765" providerId="ADAL" clId="{14C079B1-3763-444B-B216-374EF69EE7DF}" dt="2021-07-26T14:46:37.235" v="99498" actId="1076"/>
          <ac:cxnSpMkLst>
            <pc:docMk/>
            <pc:sldMk cId="1751580456" sldId="9178"/>
            <ac:cxnSpMk id="32" creationId="{F0C5AFAE-AF5F-4CBF-822C-EB2F6821A993}"/>
          </ac:cxnSpMkLst>
        </pc:cxnChg>
        <pc:cxnChg chg="mod ord">
          <ac:chgData name="Wang, David" userId="5ba1598c-ec07-46f3-a0aa-a1cc2acb9765" providerId="ADAL" clId="{14C079B1-3763-444B-B216-374EF69EE7DF}" dt="2021-07-26T14:46:37.235" v="99494" actId="1076"/>
          <ac:cxnSpMkLst>
            <pc:docMk/>
            <pc:sldMk cId="1751580456" sldId="9178"/>
            <ac:cxnSpMk id="33" creationId="{699E31B6-6533-47FE-A378-D5C61771ADBB}"/>
          </ac:cxnSpMkLst>
        </pc:cxnChg>
        <pc:cxnChg chg="mod ord">
          <ac:chgData name="Wang, David" userId="5ba1598c-ec07-46f3-a0aa-a1cc2acb9765" providerId="ADAL" clId="{14C079B1-3763-444B-B216-374EF69EE7DF}" dt="2021-07-26T14:46:37.250" v="99504" actId="1076"/>
          <ac:cxnSpMkLst>
            <pc:docMk/>
            <pc:sldMk cId="1751580456" sldId="9178"/>
            <ac:cxnSpMk id="34" creationId="{8692F0F5-5DB2-452D-9FD7-0195ED2F1DD2}"/>
          </ac:cxnSpMkLst>
        </pc:cxnChg>
        <pc:cxnChg chg="mod ord">
          <ac:chgData name="Wang, David" userId="5ba1598c-ec07-46f3-a0aa-a1cc2acb9765" providerId="ADAL" clId="{14C079B1-3763-444B-B216-374EF69EE7DF}" dt="2021-07-26T14:46:37.250" v="99510" actId="1076"/>
          <ac:cxnSpMkLst>
            <pc:docMk/>
            <pc:sldMk cId="1751580456" sldId="9178"/>
            <ac:cxnSpMk id="35" creationId="{F4F3D560-8186-4F08-809D-B93C5FAAF5F5}"/>
          </ac:cxnSpMkLst>
        </pc:cxnChg>
        <pc:cxnChg chg="mod ord">
          <ac:chgData name="Wang, David" userId="5ba1598c-ec07-46f3-a0aa-a1cc2acb9765" providerId="ADAL" clId="{14C079B1-3763-444B-B216-374EF69EE7DF}" dt="2021-07-26T14:46:37.250" v="99506" actId="1076"/>
          <ac:cxnSpMkLst>
            <pc:docMk/>
            <pc:sldMk cId="1751580456" sldId="9178"/>
            <ac:cxnSpMk id="36" creationId="{B1C6F66D-48FC-4173-8DC1-E314B88ADE91}"/>
          </ac:cxnSpMkLst>
        </pc:cxnChg>
        <pc:cxnChg chg="add mod ord">
          <ac:chgData name="Wang, David" userId="5ba1598c-ec07-46f3-a0aa-a1cc2acb9765" providerId="ADAL" clId="{14C079B1-3763-444B-B216-374EF69EE7DF}" dt="2021-07-26T14:46:37.235" v="99484" actId="1076"/>
          <ac:cxnSpMkLst>
            <pc:docMk/>
            <pc:sldMk cId="1751580456" sldId="9178"/>
            <ac:cxnSpMk id="37" creationId="{F43731B6-EE6E-48ED-AF2E-599F4B93A9AA}"/>
          </ac:cxnSpMkLst>
        </pc:cxnChg>
        <pc:cxnChg chg="mod ord">
          <ac:chgData name="Wang, David" userId="5ba1598c-ec07-46f3-a0aa-a1cc2acb9765" providerId="ADAL" clId="{14C079B1-3763-444B-B216-374EF69EE7DF}" dt="2021-07-26T14:46:16.567" v="98865"/>
          <ac:cxnSpMkLst>
            <pc:docMk/>
            <pc:sldMk cId="1751580456" sldId="9178"/>
            <ac:cxnSpMk id="38" creationId="{DC1F9A9F-82D6-42BC-B844-B01369DA561D}"/>
          </ac:cxnSpMkLst>
        </pc:cxnChg>
        <pc:cxnChg chg="mod ord">
          <ac:chgData name="Wang, David" userId="5ba1598c-ec07-46f3-a0aa-a1cc2acb9765" providerId="ADAL" clId="{14C079B1-3763-444B-B216-374EF69EE7DF}" dt="2021-07-26T14:46:16.567" v="98869"/>
          <ac:cxnSpMkLst>
            <pc:docMk/>
            <pc:sldMk cId="1751580456" sldId="9178"/>
            <ac:cxnSpMk id="39" creationId="{D7BD0AD3-76DB-483E-A31F-CD198713AF40}"/>
          </ac:cxnSpMkLst>
        </pc:cxnChg>
        <pc:cxnChg chg="add mod ord">
          <ac:chgData name="Wang, David" userId="5ba1598c-ec07-46f3-a0aa-a1cc2acb9765" providerId="ADAL" clId="{14C079B1-3763-444B-B216-374EF69EE7DF}" dt="2021-07-26T14:46:37.235" v="99482" actId="1076"/>
          <ac:cxnSpMkLst>
            <pc:docMk/>
            <pc:sldMk cId="1751580456" sldId="9178"/>
            <ac:cxnSpMk id="40" creationId="{C2979953-44C8-4A5C-8038-272C6B7DAFB8}"/>
          </ac:cxnSpMkLst>
        </pc:cxnChg>
        <pc:cxnChg chg="mod ord">
          <ac:chgData name="Wang, David" userId="5ba1598c-ec07-46f3-a0aa-a1cc2acb9765" providerId="ADAL" clId="{14C079B1-3763-444B-B216-374EF69EE7DF}" dt="2021-07-26T14:46:37.250" v="99512" actId="1076"/>
          <ac:cxnSpMkLst>
            <pc:docMk/>
            <pc:sldMk cId="1751580456" sldId="9178"/>
            <ac:cxnSpMk id="41" creationId="{3262C64E-76B3-47BD-A754-2F2FD44377DB}"/>
          </ac:cxnSpMkLst>
        </pc:cxnChg>
        <pc:cxnChg chg="mod ord">
          <ac:chgData name="Wang, David" userId="5ba1598c-ec07-46f3-a0aa-a1cc2acb9765" providerId="ADAL" clId="{14C079B1-3763-444B-B216-374EF69EE7DF}" dt="2021-07-26T14:46:37.219" v="99462" actId="1076"/>
          <ac:cxnSpMkLst>
            <pc:docMk/>
            <pc:sldMk cId="1751580456" sldId="9178"/>
            <ac:cxnSpMk id="42" creationId="{7CD97D95-337F-4060-98C3-F849A643FE2B}"/>
          </ac:cxnSpMkLst>
        </pc:cxnChg>
        <pc:cxnChg chg="mod ord">
          <ac:chgData name="Wang, David" userId="5ba1598c-ec07-46f3-a0aa-a1cc2acb9765" providerId="ADAL" clId="{14C079B1-3763-444B-B216-374EF69EE7DF}" dt="2021-07-26T14:46:37.266" v="99558" actId="1076"/>
          <ac:cxnSpMkLst>
            <pc:docMk/>
            <pc:sldMk cId="1751580456" sldId="9178"/>
            <ac:cxnSpMk id="44" creationId="{7AE5A476-9DFF-4038-A44F-107C6298D1E5}"/>
          </ac:cxnSpMkLst>
        </pc:cxnChg>
        <pc:cxnChg chg="mod ord">
          <ac:chgData name="Wang, David" userId="5ba1598c-ec07-46f3-a0aa-a1cc2acb9765" providerId="ADAL" clId="{14C079B1-3763-444B-B216-374EF69EE7DF}" dt="2021-07-26T14:46:16.567" v="98875"/>
          <ac:cxnSpMkLst>
            <pc:docMk/>
            <pc:sldMk cId="1751580456" sldId="9178"/>
            <ac:cxnSpMk id="45" creationId="{17D84FB5-67A3-4062-AB61-4A2D5ED85572}"/>
          </ac:cxnSpMkLst>
        </pc:cxnChg>
        <pc:cxnChg chg="add mod ord">
          <ac:chgData name="Wang, David" userId="5ba1598c-ec07-46f3-a0aa-a1cc2acb9765" providerId="ADAL" clId="{14C079B1-3763-444B-B216-374EF69EE7DF}" dt="2021-07-26T14:46:37.235" v="99480" actId="1076"/>
          <ac:cxnSpMkLst>
            <pc:docMk/>
            <pc:sldMk cId="1751580456" sldId="9178"/>
            <ac:cxnSpMk id="46" creationId="{F588F1DB-65F2-402F-9359-B1ABADBA18D9}"/>
          </ac:cxnSpMkLst>
        </pc:cxnChg>
        <pc:cxnChg chg="add mod ord">
          <ac:chgData name="Wang, David" userId="5ba1598c-ec07-46f3-a0aa-a1cc2acb9765" providerId="ADAL" clId="{14C079B1-3763-444B-B216-374EF69EE7DF}" dt="2021-07-26T14:46:37.235" v="99478" actId="1076"/>
          <ac:cxnSpMkLst>
            <pc:docMk/>
            <pc:sldMk cId="1751580456" sldId="9178"/>
            <ac:cxnSpMk id="55" creationId="{AEC167E8-FFE2-413D-8A3D-AE4BCF458553}"/>
          </ac:cxnSpMkLst>
        </pc:cxnChg>
        <pc:cxnChg chg="add mod ord">
          <ac:chgData name="Wang, David" userId="5ba1598c-ec07-46f3-a0aa-a1cc2acb9765" providerId="ADAL" clId="{14C079B1-3763-444B-B216-374EF69EE7DF}" dt="2021-07-26T14:46:37.235" v="99476" actId="1076"/>
          <ac:cxnSpMkLst>
            <pc:docMk/>
            <pc:sldMk cId="1751580456" sldId="9178"/>
            <ac:cxnSpMk id="59" creationId="{9DB1B86C-E08A-42A9-8ED4-57F63A653EE2}"/>
          </ac:cxnSpMkLst>
        </pc:cxnChg>
        <pc:cxnChg chg="add mod ord">
          <ac:chgData name="Wang, David" userId="5ba1598c-ec07-46f3-a0aa-a1cc2acb9765" providerId="ADAL" clId="{14C079B1-3763-444B-B216-374EF69EE7DF}" dt="2021-07-26T14:46:37.235" v="99474" actId="1076"/>
          <ac:cxnSpMkLst>
            <pc:docMk/>
            <pc:sldMk cId="1751580456" sldId="9178"/>
            <ac:cxnSpMk id="63" creationId="{9B8B0B12-7395-455F-91D7-42E04A5AA3A6}"/>
          </ac:cxnSpMkLst>
        </pc:cxnChg>
        <pc:cxnChg chg="add mod ord">
          <ac:chgData name="Wang, David" userId="5ba1598c-ec07-46f3-a0aa-a1cc2acb9765" providerId="ADAL" clId="{14C079B1-3763-444B-B216-374EF69EE7DF}" dt="2021-07-26T14:46:37.235" v="99472" actId="1076"/>
          <ac:cxnSpMkLst>
            <pc:docMk/>
            <pc:sldMk cId="1751580456" sldId="9178"/>
            <ac:cxnSpMk id="77" creationId="{A1864050-C9F7-4C44-A6C3-8D519E6DA39F}"/>
          </ac:cxnSpMkLst>
        </pc:cxnChg>
        <pc:cxnChg chg="mod ord">
          <ac:chgData name="Wang, David" userId="5ba1598c-ec07-46f3-a0aa-a1cc2acb9765" providerId="ADAL" clId="{14C079B1-3763-444B-B216-374EF69EE7DF}" dt="2021-07-26T14:46:37.235" v="99488" actId="1076"/>
          <ac:cxnSpMkLst>
            <pc:docMk/>
            <pc:sldMk cId="1751580456" sldId="9178"/>
            <ac:cxnSpMk id="89" creationId="{21BECAD3-9E48-4440-98D6-60875E341AF0}"/>
          </ac:cxnSpMkLst>
        </pc:cxnChg>
        <pc:cxnChg chg="add mod ord">
          <ac:chgData name="Wang, David" userId="5ba1598c-ec07-46f3-a0aa-a1cc2acb9765" providerId="ADAL" clId="{14C079B1-3763-444B-B216-374EF69EE7DF}" dt="2021-07-26T14:46:37.235" v="99470" actId="1076"/>
          <ac:cxnSpMkLst>
            <pc:docMk/>
            <pc:sldMk cId="1751580456" sldId="9178"/>
            <ac:cxnSpMk id="108" creationId="{2AEB4764-C2D6-4113-B48E-F3490E4C4A9B}"/>
          </ac:cxnSpMkLst>
        </pc:cxnChg>
        <pc:cxnChg chg="add del mod">
          <ac:chgData name="Wang, David" userId="5ba1598c-ec07-46f3-a0aa-a1cc2acb9765" providerId="ADAL" clId="{14C079B1-3763-444B-B216-374EF69EE7DF}" dt="2021-07-26T14:32:25.961" v="90015" actId="478"/>
          <ac:cxnSpMkLst>
            <pc:docMk/>
            <pc:sldMk cId="1751580456" sldId="9178"/>
            <ac:cxnSpMk id="122" creationId="{77BC5BA9-732A-447C-AFAF-D54B46379D37}"/>
          </ac:cxnSpMkLst>
        </pc:cxnChg>
        <pc:cxnChg chg="add del mod ord">
          <ac:chgData name="Wang, David" userId="5ba1598c-ec07-46f3-a0aa-a1cc2acb9765" providerId="ADAL" clId="{14C079B1-3763-444B-B216-374EF69EE7DF}" dt="2021-07-26T14:47:15.092" v="100567"/>
          <ac:cxnSpMkLst>
            <pc:docMk/>
            <pc:sldMk cId="1751580456" sldId="9178"/>
            <ac:cxnSpMk id="148" creationId="{BF7C6A0F-11BD-4A68-8A24-3D954EC953CF}"/>
          </ac:cxnSpMkLst>
        </pc:cxnChg>
        <pc:cxnChg chg="add del mod ord">
          <ac:chgData name="Wang, David" userId="5ba1598c-ec07-46f3-a0aa-a1cc2acb9765" providerId="ADAL" clId="{14C079B1-3763-444B-B216-374EF69EE7DF}" dt="2021-07-26T14:47:15.108" v="100575"/>
          <ac:cxnSpMkLst>
            <pc:docMk/>
            <pc:sldMk cId="1751580456" sldId="9178"/>
            <ac:cxnSpMk id="151" creationId="{6DC026BD-D700-4AB4-8E4F-FC663362CBC4}"/>
          </ac:cxnSpMkLst>
        </pc:cxnChg>
        <pc:cxnChg chg="add del mod ord">
          <ac:chgData name="Wang, David" userId="5ba1598c-ec07-46f3-a0aa-a1cc2acb9765" providerId="ADAL" clId="{14C079B1-3763-444B-B216-374EF69EE7DF}" dt="2021-07-26T14:47:15.108" v="100583"/>
          <ac:cxnSpMkLst>
            <pc:docMk/>
            <pc:sldMk cId="1751580456" sldId="9178"/>
            <ac:cxnSpMk id="156" creationId="{5C42D631-94DE-4211-8945-390A1CE25517}"/>
          </ac:cxnSpMkLst>
        </pc:cxnChg>
        <pc:cxnChg chg="mod ord">
          <ac:chgData name="Wang, David" userId="5ba1598c-ec07-46f3-a0aa-a1cc2acb9765" providerId="ADAL" clId="{14C079B1-3763-444B-B216-374EF69EE7DF}" dt="2021-07-26T14:46:37.250" v="99502" actId="1076"/>
          <ac:cxnSpMkLst>
            <pc:docMk/>
            <pc:sldMk cId="1751580456" sldId="9178"/>
            <ac:cxnSpMk id="157" creationId="{F6CC7677-6DF9-4DE6-BF20-21187A18D097}"/>
          </ac:cxnSpMkLst>
        </pc:cxnChg>
      </pc:sldChg>
      <pc:sldMasterChg chg="delSldLayout">
        <pc:chgData name="Wang, David" userId="5ba1598c-ec07-46f3-a0aa-a1cc2acb9765" providerId="ADAL" clId="{14C079B1-3763-444B-B216-374EF69EE7DF}" dt="2021-07-26T07:25:06.186" v="11833" actId="47"/>
        <pc:sldMasterMkLst>
          <pc:docMk/>
          <pc:sldMasterMk cId="839108957" sldId="2147483648"/>
        </pc:sldMasterMkLst>
        <pc:sldLayoutChg chg="del">
          <pc:chgData name="Wang, David" userId="5ba1598c-ec07-46f3-a0aa-a1cc2acb9765" providerId="ADAL" clId="{14C079B1-3763-444B-B216-374EF69EE7DF}" dt="2021-07-26T07:25:06.186" v="11833" actId="47"/>
          <pc:sldLayoutMkLst>
            <pc:docMk/>
            <pc:sldMasterMk cId="839108957" sldId="2147483648"/>
            <pc:sldLayoutMk cId="372589236" sldId="2147483700"/>
          </pc:sldLayoutMkLst>
        </pc:sldLayoutChg>
      </pc:sldMasterChg>
    </pc:docChg>
  </pc:docChgLst>
  <pc:docChgLst>
    <pc:chgData name="Zhao, Jing08 (uie36238)" userId="S::uie36238@contiwan.com::919d4763-50c5-4a85-a16a-094c52646d3b" providerId="AD" clId="Web-{A7063D1A-909C-4118-9E15-429192270C5C}"/>
    <pc:docChg chg="modSld">
      <pc:chgData name="Zhao, Jing08 (uie36238)" userId="S::uie36238@contiwan.com::919d4763-50c5-4a85-a16a-094c52646d3b" providerId="AD" clId="Web-{A7063D1A-909C-4118-9E15-429192270C5C}" dt="2021-07-26T09:23:59.567" v="86" actId="20577"/>
      <pc:docMkLst>
        <pc:docMk/>
      </pc:docMkLst>
      <pc:sldChg chg="addSp delSp modSp">
        <pc:chgData name="Zhao, Jing08 (uie36238)" userId="S::uie36238@contiwan.com::919d4763-50c5-4a85-a16a-094c52646d3b" providerId="AD" clId="Web-{A7063D1A-909C-4118-9E15-429192270C5C}" dt="2021-07-26T09:20:47.328" v="27" actId="20577"/>
        <pc:sldMkLst>
          <pc:docMk/>
          <pc:sldMk cId="2336666275" sldId="9162"/>
        </pc:sldMkLst>
        <pc:spChg chg="add mod">
          <ac:chgData name="Zhao, Jing08 (uie36238)" userId="S::uie36238@contiwan.com::919d4763-50c5-4a85-a16a-094c52646d3b" providerId="AD" clId="Web-{A7063D1A-909C-4118-9E15-429192270C5C}" dt="2021-07-26T09:20:47.328" v="27" actId="20577"/>
          <ac:spMkLst>
            <pc:docMk/>
            <pc:sldMk cId="2336666275" sldId="9162"/>
            <ac:spMk id="3" creationId="{93DDAA0A-3238-4ABC-9751-8EDFC773E348}"/>
          </ac:spMkLst>
        </pc:spChg>
        <pc:picChg chg="add del mod">
          <ac:chgData name="Zhao, Jing08 (uie36238)" userId="S::uie36238@contiwan.com::919d4763-50c5-4a85-a16a-094c52646d3b" providerId="AD" clId="Web-{A7063D1A-909C-4118-9E15-429192270C5C}" dt="2021-07-26T09:19:19.513" v="10"/>
          <ac:picMkLst>
            <pc:docMk/>
            <pc:sldMk cId="2336666275" sldId="9162"/>
            <ac:picMk id="2" creationId="{E6C5AC91-040F-41C2-84B6-8A6C2F8AD4B2}"/>
          </ac:picMkLst>
        </pc:picChg>
      </pc:sldChg>
      <pc:sldChg chg="addSp delSp modSp">
        <pc:chgData name="Zhao, Jing08 (uie36238)" userId="S::uie36238@contiwan.com::919d4763-50c5-4a85-a16a-094c52646d3b" providerId="AD" clId="Web-{A7063D1A-909C-4118-9E15-429192270C5C}" dt="2021-07-26T09:22:45.815" v="76" actId="20577"/>
        <pc:sldMkLst>
          <pc:docMk/>
          <pc:sldMk cId="1684427352" sldId="9163"/>
        </pc:sldMkLst>
        <pc:spChg chg="add del">
          <ac:chgData name="Zhao, Jing08 (uie36238)" userId="S::uie36238@contiwan.com::919d4763-50c5-4a85-a16a-094c52646d3b" providerId="AD" clId="Web-{A7063D1A-909C-4118-9E15-429192270C5C}" dt="2021-07-26T09:21:01.766" v="28"/>
          <ac:spMkLst>
            <pc:docMk/>
            <pc:sldMk cId="1684427352" sldId="9163"/>
            <ac:spMk id="3" creationId="{69C1942C-7608-4CD0-810A-F10A6621339D}"/>
          </ac:spMkLst>
        </pc:spChg>
        <pc:spChg chg="add mod">
          <ac:chgData name="Zhao, Jing08 (uie36238)" userId="S::uie36238@contiwan.com::919d4763-50c5-4a85-a16a-094c52646d3b" providerId="AD" clId="Web-{A7063D1A-909C-4118-9E15-429192270C5C}" dt="2021-07-26T09:22:45.815" v="76" actId="20577"/>
          <ac:spMkLst>
            <pc:docMk/>
            <pc:sldMk cId="1684427352" sldId="9163"/>
            <ac:spMk id="4" creationId="{DD88AB0F-908E-4FB1-94C4-9A0C353525F8}"/>
          </ac:spMkLst>
        </pc:spChg>
        <pc:picChg chg="add del mod">
          <ac:chgData name="Zhao, Jing08 (uie36238)" userId="S::uie36238@contiwan.com::919d4763-50c5-4a85-a16a-094c52646d3b" providerId="AD" clId="Web-{A7063D1A-909C-4118-9E15-429192270C5C}" dt="2021-07-26T09:19:18.279" v="9"/>
          <ac:picMkLst>
            <pc:docMk/>
            <pc:sldMk cId="1684427352" sldId="9163"/>
            <ac:picMk id="2" creationId="{D3E54B4C-7373-4406-92CE-49441D52B982}"/>
          </ac:picMkLst>
        </pc:picChg>
      </pc:sldChg>
      <pc:sldChg chg="addSp delSp modSp">
        <pc:chgData name="Zhao, Jing08 (uie36238)" userId="S::uie36238@contiwan.com::919d4763-50c5-4a85-a16a-094c52646d3b" providerId="AD" clId="Web-{A7063D1A-909C-4118-9E15-429192270C5C}" dt="2021-07-26T09:23:59.567" v="86" actId="20577"/>
        <pc:sldMkLst>
          <pc:docMk/>
          <pc:sldMk cId="1887366670" sldId="9164"/>
        </pc:sldMkLst>
        <pc:spChg chg="add del">
          <ac:chgData name="Zhao, Jing08 (uie36238)" userId="S::uie36238@contiwan.com::919d4763-50c5-4a85-a16a-094c52646d3b" providerId="AD" clId="Web-{A7063D1A-909C-4118-9E15-429192270C5C}" dt="2021-07-26T09:21:08.719" v="30"/>
          <ac:spMkLst>
            <pc:docMk/>
            <pc:sldMk cId="1887366670" sldId="9164"/>
            <ac:spMk id="3" creationId="{D4CF8A1E-D6A9-4F15-8873-5EDE0EEB830E}"/>
          </ac:spMkLst>
        </pc:spChg>
        <pc:spChg chg="add del">
          <ac:chgData name="Zhao, Jing08 (uie36238)" userId="S::uie36238@contiwan.com::919d4763-50c5-4a85-a16a-094c52646d3b" providerId="AD" clId="Web-{A7063D1A-909C-4118-9E15-429192270C5C}" dt="2021-07-26T09:22:59.191" v="77"/>
          <ac:spMkLst>
            <pc:docMk/>
            <pc:sldMk cId="1887366670" sldId="9164"/>
            <ac:spMk id="4" creationId="{781DC7D3-1CED-4136-9F6D-524EC9AF0562}"/>
          </ac:spMkLst>
        </pc:spChg>
        <pc:spChg chg="add mod">
          <ac:chgData name="Zhao, Jing08 (uie36238)" userId="S::uie36238@contiwan.com::919d4763-50c5-4a85-a16a-094c52646d3b" providerId="AD" clId="Web-{A7063D1A-909C-4118-9E15-429192270C5C}" dt="2021-07-26T09:23:59.567" v="86" actId="20577"/>
          <ac:spMkLst>
            <pc:docMk/>
            <pc:sldMk cId="1887366670" sldId="9164"/>
            <ac:spMk id="5" creationId="{894C2D56-64EA-4DA8-A65D-4F5A6D77D1E0}"/>
          </ac:spMkLst>
        </pc:spChg>
        <pc:picChg chg="add del mod">
          <ac:chgData name="Zhao, Jing08 (uie36238)" userId="S::uie36238@contiwan.com::919d4763-50c5-4a85-a16a-094c52646d3b" providerId="AD" clId="Web-{A7063D1A-909C-4118-9E15-429192270C5C}" dt="2021-07-26T09:19:16.669" v="8"/>
          <ac:picMkLst>
            <pc:docMk/>
            <pc:sldMk cId="1887366670" sldId="9164"/>
            <ac:picMk id="2" creationId="{0AE94332-859D-408D-AF1B-C40323D21483}"/>
          </ac:picMkLst>
        </pc:picChg>
      </pc:sldChg>
    </pc:docChg>
  </pc:docChgLst>
  <pc:docChgLst>
    <pc:chgData name="Yan, Jianfeng (uidm7513)" userId="S::uidm7513@contiwan.com::839b7058-a334-4a47-b48c-10c67e575121" providerId="AD" clId="Web-{3A762128-4F36-4C08-ABBD-46E373AF342E}"/>
    <pc:docChg chg="addSld modSld">
      <pc:chgData name="Yan, Jianfeng (uidm7513)" userId="S::uidm7513@contiwan.com::839b7058-a334-4a47-b48c-10c67e575121" providerId="AD" clId="Web-{3A762128-4F36-4C08-ABBD-46E373AF342E}" dt="2021-07-26T11:25:23.127" v="111" actId="1076"/>
      <pc:docMkLst>
        <pc:docMk/>
      </pc:docMkLst>
      <pc:sldChg chg="addSp delSp modSp new">
        <pc:chgData name="Yan, Jianfeng (uidm7513)" userId="S::uidm7513@contiwan.com::839b7058-a334-4a47-b48c-10c67e575121" providerId="AD" clId="Web-{3A762128-4F36-4C08-ABBD-46E373AF342E}" dt="2021-07-26T11:25:23.127" v="111" actId="1076"/>
        <pc:sldMkLst>
          <pc:docMk/>
          <pc:sldMk cId="3861626015" sldId="9173"/>
        </pc:sldMkLst>
        <pc:spChg chg="mod">
          <ac:chgData name="Yan, Jianfeng (uidm7513)" userId="S::uidm7513@contiwan.com::839b7058-a334-4a47-b48c-10c67e575121" providerId="AD" clId="Web-{3A762128-4F36-4C08-ABBD-46E373AF342E}" dt="2021-07-26T09:39:44.187" v="2" actId="20577"/>
          <ac:spMkLst>
            <pc:docMk/>
            <pc:sldMk cId="3861626015" sldId="9173"/>
            <ac:spMk id="2" creationId="{9D89D658-8F29-4A71-86C5-A00AC217D7ED}"/>
          </ac:spMkLst>
        </pc:spChg>
        <pc:spChg chg="del mod">
          <ac:chgData name="Yan, Jianfeng (uidm7513)" userId="S::uidm7513@contiwan.com::839b7058-a334-4a47-b48c-10c67e575121" providerId="AD" clId="Web-{3A762128-4F36-4C08-ABBD-46E373AF342E}" dt="2021-07-26T11:24:58.252" v="106"/>
          <ac:spMkLst>
            <pc:docMk/>
            <pc:sldMk cId="3861626015" sldId="9173"/>
            <ac:spMk id="3" creationId="{F2C305EB-A820-449A-BB40-C695154FE9E0}"/>
          </ac:spMkLst>
        </pc:spChg>
        <pc:spChg chg="del mod">
          <ac:chgData name="Yan, Jianfeng (uidm7513)" userId="S::uidm7513@contiwan.com::839b7058-a334-4a47-b48c-10c67e575121" providerId="AD" clId="Web-{3A762128-4F36-4C08-ABBD-46E373AF342E}" dt="2021-07-26T11:24:55.455" v="105"/>
          <ac:spMkLst>
            <pc:docMk/>
            <pc:sldMk cId="3861626015" sldId="9173"/>
            <ac:spMk id="4" creationId="{79A686AD-3A00-44D0-864D-531426AC94BF}"/>
          </ac:spMkLst>
        </pc:spChg>
        <pc:spChg chg="add del mod">
          <ac:chgData name="Yan, Jianfeng (uidm7513)" userId="S::uidm7513@contiwan.com::839b7058-a334-4a47-b48c-10c67e575121" providerId="AD" clId="Web-{3A762128-4F36-4C08-ABBD-46E373AF342E}" dt="2021-07-26T11:25:00.939" v="107"/>
          <ac:spMkLst>
            <pc:docMk/>
            <pc:sldMk cId="3861626015" sldId="9173"/>
            <ac:spMk id="6" creationId="{DF3E2129-EB5D-4906-9B94-37BA86DF8286}"/>
          </ac:spMkLst>
        </pc:spChg>
        <pc:spChg chg="add del mod">
          <ac:chgData name="Yan, Jianfeng (uidm7513)" userId="S::uidm7513@contiwan.com::839b7058-a334-4a47-b48c-10c67e575121" providerId="AD" clId="Web-{3A762128-4F36-4C08-ABBD-46E373AF342E}" dt="2021-07-26T11:25:03.049" v="108"/>
          <ac:spMkLst>
            <pc:docMk/>
            <pc:sldMk cId="3861626015" sldId="9173"/>
            <ac:spMk id="8" creationId="{56C7F545-CB10-4525-9B55-A196D71C1FE0}"/>
          </ac:spMkLst>
        </pc:spChg>
        <pc:graphicFrameChg chg="add mod">
          <ac:chgData name="Yan, Jianfeng (uidm7513)" userId="S::uidm7513@contiwan.com::839b7058-a334-4a47-b48c-10c67e575121" providerId="AD" clId="Web-{3A762128-4F36-4C08-ABBD-46E373AF342E}" dt="2021-07-26T11:25:23.127" v="111" actId="1076"/>
          <ac:graphicFrameMkLst>
            <pc:docMk/>
            <pc:sldMk cId="3861626015" sldId="9173"/>
            <ac:graphicFrameMk id="10" creationId="{618D1EEF-48F1-446E-843C-650199AAA05F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wmf"/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8/4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3059905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361950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71755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1950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75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iger Fa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83763" y="411686"/>
            <a:ext cx="3760237" cy="3168000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</a:t>
            </a:r>
            <a:r>
              <a:rPr lang="en-US" noProof="0" err="1"/>
              <a:t>im</a:t>
            </a:r>
            <a:r>
              <a:rPr lang="en-US" noProof="0"/>
              <a:t> </a:t>
            </a:r>
            <a:r>
              <a:rPr lang="en-US" noProof="0" err="1"/>
              <a:t>Vordergrund</a:t>
            </a:r>
            <a:r>
              <a:rPr lang="en-US" noProof="0"/>
              <a:t> </a:t>
            </a:r>
            <a:r>
              <a:rPr lang="en-US" noProof="0" err="1"/>
              <a:t>zu</a:t>
            </a:r>
            <a:r>
              <a:rPr lang="en-US" noProof="0"/>
              <a:t> </a:t>
            </a:r>
            <a:r>
              <a:rPr lang="en-US" noProof="0" err="1"/>
              <a:t>stehen</a:t>
            </a:r>
            <a:r>
              <a:rPr lang="en-US" noProof="0"/>
              <a:t>.</a:t>
            </a:r>
            <a:br>
              <a:rPr lang="en-US" noProof="0"/>
            </a:br>
            <a:r>
              <a:rPr lang="en-US" noProof="0" err="1"/>
              <a:t>Bitte</a:t>
            </a:r>
            <a:r>
              <a:rPr lang="en-US" noProof="0"/>
              <a:t> </a:t>
            </a:r>
            <a:r>
              <a:rPr lang="en-US" noProof="0" err="1"/>
              <a:t>ändern</a:t>
            </a:r>
            <a:r>
              <a:rPr lang="en-US" noProof="0"/>
              <a:t> </a:t>
            </a:r>
            <a:r>
              <a:rPr lang="en-US" noProof="0" err="1"/>
              <a:t>Sie</a:t>
            </a:r>
            <a:r>
              <a:rPr lang="en-US" noProof="0"/>
              <a:t> </a:t>
            </a:r>
            <a:r>
              <a:rPr lang="en-US" noProof="0" err="1"/>
              <a:t>nicht</a:t>
            </a:r>
            <a:r>
              <a:rPr lang="en-US" noProof="0"/>
              <a:t> die </a:t>
            </a:r>
            <a:r>
              <a:rPr lang="en-US" noProof="0" err="1"/>
              <a:t>Größe</a:t>
            </a:r>
            <a:r>
              <a:rPr lang="en-US" noProof="0"/>
              <a:t> </a:t>
            </a:r>
            <a:r>
              <a:rPr lang="en-US" noProof="0" err="1"/>
              <a:t>oder</a:t>
            </a:r>
            <a:r>
              <a:rPr lang="en-US" noProof="0"/>
              <a:t>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el 1"/>
          <p:cNvSpPr txBox="1">
            <a:spLocks/>
          </p:cNvSpPr>
          <p:nvPr userDrawn="1"/>
        </p:nvSpPr>
        <p:spPr>
          <a:xfrm>
            <a:off x="504315" y="1707654"/>
            <a:ext cx="8172141" cy="4176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Senses for Safety</a:t>
            </a:r>
          </a:p>
        </p:txBody>
      </p:sp>
      <p:sp>
        <p:nvSpPr>
          <p:cNvPr id="21" name="Untertitel 2"/>
          <p:cNvSpPr txBox="1">
            <a:spLocks/>
          </p:cNvSpPr>
          <p:nvPr userDrawn="1"/>
        </p:nvSpPr>
        <p:spPr>
          <a:xfrm>
            <a:off x="504316" y="1995686"/>
            <a:ext cx="8172140" cy="3600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Driver assistance systems help save lives</a:t>
            </a:r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9" y="2210400"/>
            <a:ext cx="8353425" cy="720726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859782"/>
            <a:ext cx="8353425" cy="935930"/>
          </a:xfrm>
        </p:spPr>
        <p:txBody>
          <a:bodyPr/>
          <a:lstStyle>
            <a:lvl1pPr marL="0" indent="0">
              <a:buSzPct val="125000"/>
              <a:buFontTx/>
              <a:buNone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5" Type="http://schemas.openxmlformats.org/officeDocument/2006/relationships/theme" Target="../theme/theme1.xml"/><Relationship Id="rId15" Type="http://schemas.openxmlformats.org/officeDocument/2006/relationships/image" Target="../media/image1.emf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375;MIO_UPDATE=True;MIO_VERSION=30.11.2012 11:40:1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49004AB-1A6B-4E30-B78A-077056A6F7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20128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14" imgW="475" imgH="476" progId="TCLayout.ActiveDocument.1">
                  <p:embed/>
                </p:oleObj>
              </mc:Choice>
              <mc:Fallback>
                <p:oleObj name="think-cell Slide" r:id="rId14" imgW="475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49004AB-1A6B-4E30-B78A-077056A6F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Gerade Verbindung 12"/>
          <p:cNvCxnSpPr/>
          <p:nvPr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0" rIns="91440" bIns="0" rtlCol="0" anchor="t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00000" y="4665239"/>
            <a:ext cx="1944000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ctr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600000" y="4561587"/>
            <a:ext cx="1944000" cy="103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ADAS China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10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Text Box 23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530536" y="4664852"/>
            <a:ext cx="1052264" cy="96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/>
            <a:fld id="{540CAFBD-CD4E-4268-AE96-CA79BDF3BBFF}" type="datetime1">
              <a:rPr lang="en-US" sz="700" smtClean="0"/>
              <a:t>8/4/2021</a:t>
            </a:fld>
            <a:endParaRPr lang="en-US" sz="700"/>
          </a:p>
        </p:txBody>
      </p:sp>
      <p:sp>
        <p:nvSpPr>
          <p:cNvPr id="16" name="Text Box 2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638800" y="4561200"/>
            <a:ext cx="1944000" cy="103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r"/>
            <a:r>
              <a:rPr lang="en-US" sz="700"/>
              <a:t>Author. ©continental-corporation.com</a:t>
            </a:r>
          </a:p>
        </p:txBody>
      </p: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7690777" y="4664491"/>
            <a:ext cx="1052264" cy="96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r"/>
            <a:fld id="{F9E08EEC-6009-4CB5-9FD4-EE980279D5E5}" type="slidenum">
              <a:rPr lang="en-US" sz="700" smtClean="0"/>
              <a:t>‹#›</a:t>
            </a:fld>
            <a:endParaRPr lang="en-US" sz="700"/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5" r:id="rId2"/>
    <p:sldLayoutId id="2147483673" r:id="rId3"/>
    <p:sldLayoutId id="2147483699" r:id="rId4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20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61950" indent="-18415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3975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17550" indent="-1778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14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package" Target="../embeddings/Microsoft_Excel_Worksheet.xlsx"/><Relationship Id="rId7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w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1.emf"/><Relationship Id="rId2" Type="http://schemas.openxmlformats.org/officeDocument/2006/relationships/tags" Target="../tags/tag10.xml"/><Relationship Id="rId16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tags" Target="../tags/tag67.xml"/><Relationship Id="rId47" Type="http://schemas.openxmlformats.org/officeDocument/2006/relationships/tags" Target="../tags/tag72.xml"/><Relationship Id="rId50" Type="http://schemas.openxmlformats.org/officeDocument/2006/relationships/tags" Target="../tags/tag75.xml"/><Relationship Id="rId55" Type="http://schemas.openxmlformats.org/officeDocument/2006/relationships/tags" Target="../tags/tag80.xml"/><Relationship Id="rId63" Type="http://schemas.openxmlformats.org/officeDocument/2006/relationships/tags" Target="../tags/tag88.xml"/><Relationship Id="rId68" Type="http://schemas.openxmlformats.org/officeDocument/2006/relationships/tags" Target="../tags/tag93.xml"/><Relationship Id="rId76" Type="http://schemas.openxmlformats.org/officeDocument/2006/relationships/tags" Target="../tags/tag101.xml"/><Relationship Id="rId7" Type="http://schemas.openxmlformats.org/officeDocument/2006/relationships/tags" Target="../tags/tag32.xml"/><Relationship Id="rId71" Type="http://schemas.openxmlformats.org/officeDocument/2006/relationships/tags" Target="../tags/tag96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9" Type="http://schemas.openxmlformats.org/officeDocument/2006/relationships/tags" Target="../tags/tag54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53" Type="http://schemas.openxmlformats.org/officeDocument/2006/relationships/tags" Target="../tags/tag78.xml"/><Relationship Id="rId58" Type="http://schemas.openxmlformats.org/officeDocument/2006/relationships/tags" Target="../tags/tag83.xml"/><Relationship Id="rId66" Type="http://schemas.openxmlformats.org/officeDocument/2006/relationships/tags" Target="../tags/tag91.xml"/><Relationship Id="rId74" Type="http://schemas.openxmlformats.org/officeDocument/2006/relationships/tags" Target="../tags/tag99.xml"/><Relationship Id="rId79" Type="http://schemas.openxmlformats.org/officeDocument/2006/relationships/slideLayout" Target="../slideLayouts/slideLayout2.xml"/><Relationship Id="rId5" Type="http://schemas.openxmlformats.org/officeDocument/2006/relationships/tags" Target="../tags/tag30.xml"/><Relationship Id="rId61" Type="http://schemas.openxmlformats.org/officeDocument/2006/relationships/tags" Target="../tags/tag86.xml"/><Relationship Id="rId82" Type="http://schemas.openxmlformats.org/officeDocument/2006/relationships/image" Target="../media/image11.png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openxmlformats.org/officeDocument/2006/relationships/tags" Target="../tags/tag77.xml"/><Relationship Id="rId60" Type="http://schemas.openxmlformats.org/officeDocument/2006/relationships/tags" Target="../tags/tag85.xml"/><Relationship Id="rId65" Type="http://schemas.openxmlformats.org/officeDocument/2006/relationships/tags" Target="../tags/tag90.xml"/><Relationship Id="rId73" Type="http://schemas.openxmlformats.org/officeDocument/2006/relationships/tags" Target="../tags/tag98.xml"/><Relationship Id="rId78" Type="http://schemas.openxmlformats.org/officeDocument/2006/relationships/tags" Target="../tags/tag103.xml"/><Relationship Id="rId81" Type="http://schemas.openxmlformats.org/officeDocument/2006/relationships/image" Target="../media/image1.emf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tags" Target="../tags/tag68.xml"/><Relationship Id="rId48" Type="http://schemas.openxmlformats.org/officeDocument/2006/relationships/tags" Target="../tags/tag73.xml"/><Relationship Id="rId56" Type="http://schemas.openxmlformats.org/officeDocument/2006/relationships/tags" Target="../tags/tag81.xml"/><Relationship Id="rId64" Type="http://schemas.openxmlformats.org/officeDocument/2006/relationships/tags" Target="../tags/tag89.xml"/><Relationship Id="rId69" Type="http://schemas.openxmlformats.org/officeDocument/2006/relationships/tags" Target="../tags/tag94.xml"/><Relationship Id="rId77" Type="http://schemas.openxmlformats.org/officeDocument/2006/relationships/tags" Target="../tags/tag102.xml"/><Relationship Id="rId8" Type="http://schemas.openxmlformats.org/officeDocument/2006/relationships/tags" Target="../tags/tag33.xml"/><Relationship Id="rId51" Type="http://schemas.openxmlformats.org/officeDocument/2006/relationships/tags" Target="../tags/tag76.xml"/><Relationship Id="rId72" Type="http://schemas.openxmlformats.org/officeDocument/2006/relationships/tags" Target="../tags/tag97.xml"/><Relationship Id="rId80" Type="http://schemas.openxmlformats.org/officeDocument/2006/relationships/oleObject" Target="../embeddings/oleObject6.bin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tags" Target="../tags/tag71.xml"/><Relationship Id="rId59" Type="http://schemas.openxmlformats.org/officeDocument/2006/relationships/tags" Target="../tags/tag84.xml"/><Relationship Id="rId67" Type="http://schemas.openxmlformats.org/officeDocument/2006/relationships/tags" Target="../tags/tag92.xml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54" Type="http://schemas.openxmlformats.org/officeDocument/2006/relationships/tags" Target="../tags/tag79.xml"/><Relationship Id="rId62" Type="http://schemas.openxmlformats.org/officeDocument/2006/relationships/tags" Target="../tags/tag87.xml"/><Relationship Id="rId70" Type="http://schemas.openxmlformats.org/officeDocument/2006/relationships/tags" Target="../tags/tag95.xml"/><Relationship Id="rId75" Type="http://schemas.openxmlformats.org/officeDocument/2006/relationships/tags" Target="../tags/tag100.xml"/><Relationship Id="rId83" Type="http://schemas.openxmlformats.org/officeDocument/2006/relationships/image" Target="../media/image12.png"/><Relationship Id="rId1" Type="http://schemas.openxmlformats.org/officeDocument/2006/relationships/vmlDrawing" Target="../drawings/vmlDrawing8.vml"/><Relationship Id="rId6" Type="http://schemas.openxmlformats.org/officeDocument/2006/relationships/tags" Target="../tags/tag3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tags" Target="../tags/tag74.xml"/><Relationship Id="rId57" Type="http://schemas.openxmlformats.org/officeDocument/2006/relationships/tags" Target="../tags/tag8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1A356B-CD4F-4E7A-B46C-6E1CC8CDC7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6502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1A356B-CD4F-4E7A-B46C-6E1CC8CDC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MFC5J3 Development Information</a:t>
            </a:r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ugust. 02. 2021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03239" y="4443958"/>
            <a:ext cx="5075797" cy="368813"/>
          </a:xfrm>
        </p:spPr>
        <p:txBody>
          <a:bodyPr>
            <a:normAutofit/>
          </a:bodyPr>
          <a:lstStyle/>
          <a:p>
            <a:pPr algn="l"/>
            <a:r>
              <a:rPr lang="en-US" sz="800" noProof="0"/>
              <a:t>Chassis &amp; Safety | Advanced Driver Assistance Systems</a:t>
            </a:r>
          </a:p>
        </p:txBody>
      </p:sp>
      <p:pic>
        <p:nvPicPr>
          <p:cNvPr id="15" name="Picture 11" descr="SensePlanAct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185390" y="4595206"/>
            <a:ext cx="1189181" cy="280800"/>
          </a:xfrm>
          <a:prstGeom prst="rect">
            <a:avLst/>
          </a:prstGeom>
        </p:spPr>
      </p:pic>
      <p:pic>
        <p:nvPicPr>
          <p:cNvPr id="16" name="Grafik 15" descr="conti_senseplanact_Poster_xs_v25.png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3704" y="4155926"/>
            <a:ext cx="8748000" cy="56737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4272582-F9BE-4551-B91E-4987C550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0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5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4272582-F9BE-4551-B91E-4987C550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itle 5">
            <a:extLst>
              <a:ext uri="{FF2B5EF4-FFF2-40B4-BE49-F238E27FC236}">
                <a16:creationId xmlns:a16="http://schemas.microsoft.com/office/drawing/2014/main" id="{AB06C1EB-172F-4D44-8F66-212D75F4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7974"/>
            <a:ext cx="8353425" cy="720726"/>
          </a:xfrm>
        </p:spPr>
        <p:txBody>
          <a:bodyPr vert="horz"/>
          <a:lstStyle/>
          <a:p>
            <a:r>
              <a:rPr lang="en-US" dirty="0"/>
              <a:t>MFC5J3 DF SW development Strategy</a:t>
            </a:r>
            <a:br>
              <a:rPr lang="en-US" dirty="0"/>
            </a:b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3B1FE85-D350-4A75-88A6-65682F22A526}"/>
              </a:ext>
            </a:extLst>
          </p:cNvPr>
          <p:cNvSpPr/>
          <p:nvPr/>
        </p:nvSpPr>
        <p:spPr>
          <a:xfrm>
            <a:off x="395286" y="836973"/>
            <a:ext cx="77310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In order to accomplish the full function SW of </a:t>
            </a:r>
            <a:r>
              <a:rPr lang="en-US" b="1" dirty="0"/>
              <a:t>1R1V solution </a:t>
            </a:r>
            <a:r>
              <a:rPr lang="en-US" dirty="0"/>
              <a:t>milestone in Q1 2022, it is decided to take </a:t>
            </a:r>
            <a:r>
              <a:rPr lang="en-US" b="1" dirty="0">
                <a:solidFill>
                  <a:srgbClr val="FF0000"/>
                </a:solidFill>
              </a:rPr>
              <a:t>CEM + ACC Gen4 </a:t>
            </a:r>
            <a:r>
              <a:rPr lang="en-US" dirty="0"/>
              <a:t>as current longitudinal function architecture:</a:t>
            </a:r>
          </a:p>
        </p:txBody>
      </p:sp>
      <p:sp>
        <p:nvSpPr>
          <p:cNvPr id="7" name="Rechteck 9">
            <a:extLst>
              <a:ext uri="{FF2B5EF4-FFF2-40B4-BE49-F238E27FC236}">
                <a16:creationId xmlns:a16="http://schemas.microsoft.com/office/drawing/2014/main" id="{D7F60D09-2694-499F-A68D-20125095D5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1209" y="1778445"/>
            <a:ext cx="1871180" cy="1044000"/>
          </a:xfrm>
          <a:prstGeom prst="rect">
            <a:avLst/>
          </a:prstGeom>
          <a:solidFill>
            <a:schemeClr val="accent4"/>
          </a:soli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80147" tIns="40074" rIns="80147" bIns="40074" rtlCol="0">
            <a:normAutofit/>
          </a:bodyPr>
          <a:lstStyle/>
          <a:p>
            <a:pPr marR="0" lvl="0" algn="l" defTabSz="8738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Function ECU</a:t>
            </a:r>
          </a:p>
        </p:txBody>
      </p:sp>
      <p:sp>
        <p:nvSpPr>
          <p:cNvPr id="8" name="Rechteck 8">
            <a:extLst>
              <a:ext uri="{FF2B5EF4-FFF2-40B4-BE49-F238E27FC236}">
                <a16:creationId xmlns:a16="http://schemas.microsoft.com/office/drawing/2014/main" id="{DFB52303-F84A-43B0-84E2-699422B4FC6A}"/>
              </a:ext>
            </a:extLst>
          </p:cNvPr>
          <p:cNvSpPr/>
          <p:nvPr/>
        </p:nvSpPr>
        <p:spPr bwMode="auto">
          <a:xfrm>
            <a:off x="6221534" y="2010567"/>
            <a:ext cx="1668667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Gen4 ACC Function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4A5F8C-7989-4CC2-85A6-B37DCED450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665" y="1778445"/>
            <a:ext cx="5197504" cy="1044000"/>
          </a:xfrm>
          <a:prstGeom prst="rect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b="1" dirty="0"/>
              <a:t>Radar ECU</a:t>
            </a:r>
          </a:p>
        </p:txBody>
      </p:sp>
      <p:sp>
        <p:nvSpPr>
          <p:cNvPr id="10" name="Rechteck 10">
            <a:extLst>
              <a:ext uri="{FF2B5EF4-FFF2-40B4-BE49-F238E27FC236}">
                <a16:creationId xmlns:a16="http://schemas.microsoft.com/office/drawing/2014/main" id="{9A09AE5A-744C-45B8-8B0F-40A8B67E4F1C}"/>
              </a:ext>
            </a:extLst>
          </p:cNvPr>
          <p:cNvSpPr/>
          <p:nvPr/>
        </p:nvSpPr>
        <p:spPr bwMode="auto">
          <a:xfrm>
            <a:off x="1942518" y="2010566"/>
            <a:ext cx="1152000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Signal Processing</a:t>
            </a:r>
          </a:p>
        </p:txBody>
      </p:sp>
      <p:sp>
        <p:nvSpPr>
          <p:cNvPr id="11" name="Rechteck 11">
            <a:extLst>
              <a:ext uri="{FF2B5EF4-FFF2-40B4-BE49-F238E27FC236}">
                <a16:creationId xmlns:a16="http://schemas.microsoft.com/office/drawing/2014/main" id="{BC23D1B2-5999-432F-9902-49CE0164EA0A}"/>
              </a:ext>
            </a:extLst>
          </p:cNvPr>
          <p:cNvSpPr/>
          <p:nvPr/>
        </p:nvSpPr>
        <p:spPr bwMode="auto">
          <a:xfrm>
            <a:off x="3196969" y="2010567"/>
            <a:ext cx="1152000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Environmental Model</a:t>
            </a:r>
          </a:p>
        </p:txBody>
      </p:sp>
      <p:sp>
        <p:nvSpPr>
          <p:cNvPr id="12" name="Rechteck 12">
            <a:extLst>
              <a:ext uri="{FF2B5EF4-FFF2-40B4-BE49-F238E27FC236}">
                <a16:creationId xmlns:a16="http://schemas.microsoft.com/office/drawing/2014/main" id="{77A57C70-18B3-4F8D-A39E-DA2608752E86}"/>
              </a:ext>
            </a:extLst>
          </p:cNvPr>
          <p:cNvSpPr/>
          <p:nvPr/>
        </p:nvSpPr>
        <p:spPr bwMode="auto">
          <a:xfrm>
            <a:off x="687381" y="2010567"/>
            <a:ext cx="1152686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Illumination and Preprocessing</a:t>
            </a:r>
          </a:p>
        </p:txBody>
      </p:sp>
      <p:sp>
        <p:nvSpPr>
          <p:cNvPr id="13" name="Rechteck 13">
            <a:extLst>
              <a:ext uri="{FF2B5EF4-FFF2-40B4-BE49-F238E27FC236}">
                <a16:creationId xmlns:a16="http://schemas.microsoft.com/office/drawing/2014/main" id="{C141EC3E-4E02-402D-9BFF-FBD4FE6C10D7}"/>
              </a:ext>
            </a:extLst>
          </p:cNvPr>
          <p:cNvSpPr/>
          <p:nvPr/>
        </p:nvSpPr>
        <p:spPr bwMode="auto">
          <a:xfrm>
            <a:off x="4520655" y="2088151"/>
            <a:ext cx="1152000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Object Selection</a:t>
            </a:r>
          </a:p>
        </p:txBody>
      </p:sp>
      <p:sp>
        <p:nvSpPr>
          <p:cNvPr id="14" name="Pfeil nach rechts 26">
            <a:extLst>
              <a:ext uri="{FF2B5EF4-FFF2-40B4-BE49-F238E27FC236}">
                <a16:creationId xmlns:a16="http://schemas.microsoft.com/office/drawing/2014/main" id="{A53E4E18-3273-4041-B156-321776A3CD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9976" y="2392467"/>
            <a:ext cx="813132" cy="294296"/>
          </a:xfrm>
          <a:prstGeom prst="rightArrow">
            <a:avLst>
              <a:gd name="adj1" fmla="val 58132"/>
              <a:gd name="adj2" fmla="val 48059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defTabSz="873827"/>
            <a:r>
              <a:rPr lang="en-US" sz="900" dirty="0"/>
              <a:t>Raw Data</a:t>
            </a:r>
          </a:p>
        </p:txBody>
      </p:sp>
      <p:sp>
        <p:nvSpPr>
          <p:cNvPr id="15" name="Ellipse 31">
            <a:extLst>
              <a:ext uri="{FF2B5EF4-FFF2-40B4-BE49-F238E27FC236}">
                <a16:creationId xmlns:a16="http://schemas.microsoft.com/office/drawing/2014/main" id="{D7D2A3C7-2D94-49E3-9E4E-71E62BB5C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4691" y="2234590"/>
            <a:ext cx="180000" cy="1800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algn="ctr" defTabSz="873827"/>
            <a:r>
              <a:rPr lang="en-US" sz="1100" dirty="0"/>
              <a:t>F</a:t>
            </a:r>
          </a:p>
        </p:txBody>
      </p:sp>
      <p:sp>
        <p:nvSpPr>
          <p:cNvPr id="16" name="Pfeil nach rechts 26">
            <a:extLst>
              <a:ext uri="{FF2B5EF4-FFF2-40B4-BE49-F238E27FC236}">
                <a16:creationId xmlns:a16="http://schemas.microsoft.com/office/drawing/2014/main" id="{E96B11C7-3468-4FA5-8605-316A88D51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2864" y="2392467"/>
            <a:ext cx="854969" cy="294296"/>
          </a:xfrm>
          <a:prstGeom prst="rightArrow">
            <a:avLst>
              <a:gd name="adj1" fmla="val 58132"/>
              <a:gd name="adj2" fmla="val 48059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defTabSz="873827"/>
            <a:r>
              <a:rPr lang="en-US" sz="900" dirty="0"/>
              <a:t>Cluster List</a:t>
            </a: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25996BED-6104-4DFD-9E64-82EAD4F4B366}"/>
              </a:ext>
            </a:extLst>
          </p:cNvPr>
          <p:cNvSpPr/>
          <p:nvPr/>
        </p:nvSpPr>
        <p:spPr bwMode="auto">
          <a:xfrm>
            <a:off x="4451419" y="2010567"/>
            <a:ext cx="1152000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Object Selection</a:t>
            </a:r>
          </a:p>
        </p:txBody>
      </p:sp>
      <p:sp>
        <p:nvSpPr>
          <p:cNvPr id="18" name="Pfeil nach rechts 26">
            <a:extLst>
              <a:ext uri="{FF2B5EF4-FFF2-40B4-BE49-F238E27FC236}">
                <a16:creationId xmlns:a16="http://schemas.microsoft.com/office/drawing/2014/main" id="{2D3EDDF4-610D-4995-B494-9FDB1E4E0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6381" y="2392467"/>
            <a:ext cx="854969" cy="294296"/>
          </a:xfrm>
          <a:prstGeom prst="rightArrow">
            <a:avLst>
              <a:gd name="adj1" fmla="val 58132"/>
              <a:gd name="adj2" fmla="val 48059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defTabSz="873827"/>
            <a:r>
              <a:rPr lang="en-US" sz="900" dirty="0"/>
              <a:t>Object List</a:t>
            </a:r>
          </a:p>
        </p:txBody>
      </p:sp>
      <p:sp>
        <p:nvSpPr>
          <p:cNvPr id="19" name="Pfeil nach rechts 26">
            <a:extLst>
              <a:ext uri="{FF2B5EF4-FFF2-40B4-BE49-F238E27FC236}">
                <a16:creationId xmlns:a16="http://schemas.microsoft.com/office/drawing/2014/main" id="{E843F7D9-4397-451C-BA6D-F69BD4D3E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2413" y="2392467"/>
            <a:ext cx="1282673" cy="294296"/>
          </a:xfrm>
          <a:prstGeom prst="rightArrow">
            <a:avLst>
              <a:gd name="adj1" fmla="val 58132"/>
              <a:gd name="adj2" fmla="val 48059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defTabSz="873827"/>
            <a:r>
              <a:rPr lang="en-US" sz="900" dirty="0"/>
              <a:t>40 Relevant Objects</a:t>
            </a:r>
          </a:p>
        </p:txBody>
      </p:sp>
      <p:sp>
        <p:nvSpPr>
          <p:cNvPr id="20" name="Rechteck 38">
            <a:extLst>
              <a:ext uri="{FF2B5EF4-FFF2-40B4-BE49-F238E27FC236}">
                <a16:creationId xmlns:a16="http://schemas.microsoft.com/office/drawing/2014/main" id="{FAFAEF83-C3E2-4C06-BBF0-5A42F3F9F5E3}"/>
              </a:ext>
            </a:extLst>
          </p:cNvPr>
          <p:cNvSpPr/>
          <p:nvPr/>
        </p:nvSpPr>
        <p:spPr>
          <a:xfrm>
            <a:off x="530062" y="1760303"/>
            <a:ext cx="7491600" cy="1087200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7A9AF04E-0AF5-455D-937D-399C3A3ED6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726" y="3205383"/>
            <a:ext cx="1871180" cy="1044000"/>
          </a:xfrm>
          <a:prstGeom prst="rect">
            <a:avLst/>
          </a:prstGeom>
          <a:solidFill>
            <a:schemeClr val="accent4"/>
          </a:soli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80147" tIns="40074" rIns="80147" bIns="40074" rtlCol="0">
            <a:normAutofit/>
          </a:bodyPr>
          <a:lstStyle/>
          <a:p>
            <a:pPr marR="0" lvl="0" algn="l" defTabSz="8738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Function ECU</a:t>
            </a:r>
          </a:p>
        </p:txBody>
      </p:sp>
      <p:sp>
        <p:nvSpPr>
          <p:cNvPr id="22" name="Rechteck 8">
            <a:extLst>
              <a:ext uri="{FF2B5EF4-FFF2-40B4-BE49-F238E27FC236}">
                <a16:creationId xmlns:a16="http://schemas.microsoft.com/office/drawing/2014/main" id="{71E7EE77-7B0A-4E24-9866-7AA6263310C5}"/>
              </a:ext>
            </a:extLst>
          </p:cNvPr>
          <p:cNvSpPr/>
          <p:nvPr/>
        </p:nvSpPr>
        <p:spPr bwMode="auto">
          <a:xfrm>
            <a:off x="6224051" y="3437505"/>
            <a:ext cx="1668667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Gen4 ACC Functions</a:t>
            </a:r>
          </a:p>
        </p:txBody>
      </p:sp>
      <p:sp>
        <p:nvSpPr>
          <p:cNvPr id="23" name="Rechteck 8">
            <a:extLst>
              <a:ext uri="{FF2B5EF4-FFF2-40B4-BE49-F238E27FC236}">
                <a16:creationId xmlns:a16="http://schemas.microsoft.com/office/drawing/2014/main" id="{DE888929-921C-4F36-890D-E799A68E22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182" y="3205383"/>
            <a:ext cx="5197504" cy="1044000"/>
          </a:xfrm>
          <a:prstGeom prst="rect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b="1" dirty="0"/>
              <a:t>MFC5J3</a:t>
            </a:r>
          </a:p>
        </p:txBody>
      </p:sp>
      <p:sp>
        <p:nvSpPr>
          <p:cNvPr id="24" name="Rechteck 10">
            <a:extLst>
              <a:ext uri="{FF2B5EF4-FFF2-40B4-BE49-F238E27FC236}">
                <a16:creationId xmlns:a16="http://schemas.microsoft.com/office/drawing/2014/main" id="{048D0D5E-E4DF-4F5A-AE6C-2E126A6C0489}"/>
              </a:ext>
            </a:extLst>
          </p:cNvPr>
          <p:cNvSpPr/>
          <p:nvPr/>
        </p:nvSpPr>
        <p:spPr bwMode="auto">
          <a:xfrm>
            <a:off x="1945035" y="3437504"/>
            <a:ext cx="1152000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Signal Processing</a:t>
            </a:r>
          </a:p>
        </p:txBody>
      </p:sp>
      <p:sp>
        <p:nvSpPr>
          <p:cNvPr id="26" name="Rechteck 11">
            <a:extLst>
              <a:ext uri="{FF2B5EF4-FFF2-40B4-BE49-F238E27FC236}">
                <a16:creationId xmlns:a16="http://schemas.microsoft.com/office/drawing/2014/main" id="{04EA9378-0D29-49CA-A8AE-CFE46C952390}"/>
              </a:ext>
            </a:extLst>
          </p:cNvPr>
          <p:cNvSpPr/>
          <p:nvPr/>
        </p:nvSpPr>
        <p:spPr bwMode="auto">
          <a:xfrm>
            <a:off x="3199486" y="3437505"/>
            <a:ext cx="1621864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CEM</a:t>
            </a:r>
          </a:p>
        </p:txBody>
      </p:sp>
      <p:sp>
        <p:nvSpPr>
          <p:cNvPr id="27" name="Rechteck 12">
            <a:extLst>
              <a:ext uri="{FF2B5EF4-FFF2-40B4-BE49-F238E27FC236}">
                <a16:creationId xmlns:a16="http://schemas.microsoft.com/office/drawing/2014/main" id="{82D72CEA-FF78-4562-AA92-17558704AE5F}"/>
              </a:ext>
            </a:extLst>
          </p:cNvPr>
          <p:cNvSpPr/>
          <p:nvPr/>
        </p:nvSpPr>
        <p:spPr bwMode="auto">
          <a:xfrm>
            <a:off x="689898" y="3437505"/>
            <a:ext cx="1152686" cy="691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0147" tIns="40074" rIns="80147" bIns="40074"/>
          <a:lstStyle/>
          <a:p>
            <a:pPr defTabSz="873827">
              <a:defRPr/>
            </a:pPr>
            <a:r>
              <a:rPr lang="en-US" sz="1100" dirty="0"/>
              <a:t>Illumination and Preprocessing</a:t>
            </a:r>
          </a:p>
        </p:txBody>
      </p:sp>
      <p:sp>
        <p:nvSpPr>
          <p:cNvPr id="29" name="Pfeil nach rechts 26">
            <a:extLst>
              <a:ext uri="{FF2B5EF4-FFF2-40B4-BE49-F238E27FC236}">
                <a16:creationId xmlns:a16="http://schemas.microsoft.com/office/drawing/2014/main" id="{ABFED19C-064B-45EC-9D41-4A498D4C37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493" y="3819405"/>
            <a:ext cx="813132" cy="294296"/>
          </a:xfrm>
          <a:prstGeom prst="rightArrow">
            <a:avLst>
              <a:gd name="adj1" fmla="val 58132"/>
              <a:gd name="adj2" fmla="val 48059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defTabSz="873827"/>
            <a:r>
              <a:rPr lang="en-US" sz="900" dirty="0"/>
              <a:t>Raw Data</a:t>
            </a:r>
          </a:p>
        </p:txBody>
      </p:sp>
      <p:sp>
        <p:nvSpPr>
          <p:cNvPr id="30" name="Ellipse 31">
            <a:extLst>
              <a:ext uri="{FF2B5EF4-FFF2-40B4-BE49-F238E27FC236}">
                <a16:creationId xmlns:a16="http://schemas.microsoft.com/office/drawing/2014/main" id="{6D4410E8-DE25-43AC-A8D6-C285E15EB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7208" y="3661528"/>
            <a:ext cx="180000" cy="1800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algn="ctr" defTabSz="873827"/>
            <a:r>
              <a:rPr lang="en-US" sz="1100" dirty="0"/>
              <a:t>F</a:t>
            </a:r>
          </a:p>
        </p:txBody>
      </p:sp>
      <p:sp>
        <p:nvSpPr>
          <p:cNvPr id="31" name="Pfeil nach rechts 26">
            <a:extLst>
              <a:ext uri="{FF2B5EF4-FFF2-40B4-BE49-F238E27FC236}">
                <a16:creationId xmlns:a16="http://schemas.microsoft.com/office/drawing/2014/main" id="{CAC7B7BD-ECD7-445A-B7C5-228F9482FF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5381" y="3819405"/>
            <a:ext cx="854969" cy="294296"/>
          </a:xfrm>
          <a:prstGeom prst="rightArrow">
            <a:avLst>
              <a:gd name="adj1" fmla="val 58132"/>
              <a:gd name="adj2" fmla="val 48059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defTabSz="873827"/>
            <a:r>
              <a:rPr lang="en-US" sz="900" dirty="0"/>
              <a:t>Cluster List</a:t>
            </a:r>
          </a:p>
        </p:txBody>
      </p:sp>
      <p:sp>
        <p:nvSpPr>
          <p:cNvPr id="34" name="Pfeil nach rechts 26">
            <a:extLst>
              <a:ext uri="{FF2B5EF4-FFF2-40B4-BE49-F238E27FC236}">
                <a16:creationId xmlns:a16="http://schemas.microsoft.com/office/drawing/2014/main" id="{4F43D7F0-899F-4B9F-92C6-7B4446234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6423" y="3461525"/>
            <a:ext cx="1668667" cy="685322"/>
          </a:xfrm>
          <a:prstGeom prst="rightArrow">
            <a:avLst>
              <a:gd name="adj1" fmla="val 58132"/>
              <a:gd name="adj2" fmla="val 48059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defTabSz="873827"/>
            <a:r>
              <a:rPr lang="en-US" sz="900" dirty="0"/>
              <a:t>Object List ??</a:t>
            </a:r>
          </a:p>
          <a:p>
            <a:pPr defTabSz="873827"/>
            <a:r>
              <a:rPr lang="en-US" sz="900" dirty="0"/>
              <a:t>22 Relevant Objects ??</a:t>
            </a:r>
          </a:p>
          <a:p>
            <a:pPr defTabSz="873827"/>
            <a:r>
              <a:rPr lang="en-US" sz="900" dirty="0"/>
              <a:t>Road/Lane info ??</a:t>
            </a:r>
          </a:p>
        </p:txBody>
      </p:sp>
      <p:sp>
        <p:nvSpPr>
          <p:cNvPr id="35" name="Rechteck 38">
            <a:extLst>
              <a:ext uri="{FF2B5EF4-FFF2-40B4-BE49-F238E27FC236}">
                <a16:creationId xmlns:a16="http://schemas.microsoft.com/office/drawing/2014/main" id="{DA7E178E-FE31-4B9F-ABEA-75EC7E8BF14C}"/>
              </a:ext>
            </a:extLst>
          </p:cNvPr>
          <p:cNvSpPr/>
          <p:nvPr/>
        </p:nvSpPr>
        <p:spPr>
          <a:xfrm>
            <a:off x="532579" y="3187241"/>
            <a:ext cx="7491600" cy="1087200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Ellipse 31">
            <a:extLst>
              <a:ext uri="{FF2B5EF4-FFF2-40B4-BE49-F238E27FC236}">
                <a16:creationId xmlns:a16="http://schemas.microsoft.com/office/drawing/2014/main" id="{5DD78000-659F-4FE2-8D29-27E9742F66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5086" y="4331130"/>
            <a:ext cx="180000" cy="1800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147" tIns="40074" rIns="80147" bIns="40074" anchor="ctr"/>
          <a:lstStyle/>
          <a:p>
            <a:pPr algn="ctr" defTabSz="873827"/>
            <a:r>
              <a:rPr lang="en-US" sz="1100" dirty="0"/>
              <a:t>F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D4E892B-3B30-403C-93D0-EED91FF172A9}"/>
              </a:ext>
            </a:extLst>
          </p:cNvPr>
          <p:cNvSpPr/>
          <p:nvPr/>
        </p:nvSpPr>
        <p:spPr>
          <a:xfrm>
            <a:off x="6495090" y="4282631"/>
            <a:ext cx="7393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73827">
              <a:defRPr/>
            </a:pPr>
            <a:r>
              <a:rPr lang="en-US" sz="1200" dirty="0"/>
              <a:t>- Fusion</a:t>
            </a:r>
          </a:p>
        </p:txBody>
      </p:sp>
      <p:sp>
        <p:nvSpPr>
          <p:cNvPr id="4" name="Arrow: Down 3">
            <a:extLst>
              <a:ext uri="{FF2B5EF4-FFF2-40B4-BE49-F238E27FC236}">
                <a16:creationId xmlns:a16="http://schemas.microsoft.com/office/drawing/2014/main" id="{3BDE1568-86AC-45BC-A2FB-2E76B8CED02A}"/>
              </a:ext>
            </a:extLst>
          </p:cNvPr>
          <p:cNvSpPr/>
          <p:nvPr/>
        </p:nvSpPr>
        <p:spPr>
          <a:xfrm>
            <a:off x="3894561" y="2916473"/>
            <a:ext cx="556858" cy="218730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18154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9D658-8F29-4A71-86C5-A00AC217D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MFC5J3 CEM Component</a:t>
            </a:r>
            <a:endParaRPr lang="en-US" dirty="0"/>
          </a:p>
        </p:txBody>
      </p:sp>
      <p:graphicFrame>
        <p:nvGraphicFramePr>
          <p:cNvPr id="10" name="Table 4">
            <a:extLst>
              <a:ext uri="{FF2B5EF4-FFF2-40B4-BE49-F238E27FC236}">
                <a16:creationId xmlns:a16="http://schemas.microsoft.com/office/drawing/2014/main" id="{618D1EEF-48F1-446E-843C-650199AAA0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546957"/>
              </p:ext>
            </p:extLst>
          </p:nvPr>
        </p:nvGraphicFramePr>
        <p:xfrm>
          <a:off x="395286" y="713476"/>
          <a:ext cx="6855620" cy="3564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19489">
                  <a:extLst>
                    <a:ext uri="{9D8B030D-6E8A-4147-A177-3AD203B41FA5}">
                      <a16:colId xmlns:a16="http://schemas.microsoft.com/office/drawing/2014/main" val="2368499894"/>
                    </a:ext>
                  </a:extLst>
                </a:gridCol>
                <a:gridCol w="3336131">
                  <a:extLst>
                    <a:ext uri="{9D8B030D-6E8A-4147-A177-3AD203B41FA5}">
                      <a16:colId xmlns:a16="http://schemas.microsoft.com/office/drawing/2014/main" val="1088609163"/>
                    </a:ext>
                  </a:extLst>
                </a:gridCol>
              </a:tblGrid>
              <a:tr h="394228">
                <a:tc>
                  <a:txBody>
                    <a:bodyPr/>
                    <a:lstStyle/>
                    <a:p>
                      <a:r>
                        <a:rPr lang="de-DE" sz="1050" dirty="0"/>
                        <a:t>Compon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Available for ACC Gen4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7115368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EF</a:t>
                      </a:r>
                    </a:p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tatic Enviro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1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501114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ML</a:t>
                      </a:r>
                    </a:p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go Motion &amp; Local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1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888257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PF</a:t>
                      </a:r>
                    </a:p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raffic Particip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1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4883614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MF</a:t>
                      </a:r>
                    </a:p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oad Modle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de-DE" sz="1000" b="1" dirty="0">
                          <a:solidFill>
                            <a:srgbClr val="FF0000"/>
                          </a:solidFill>
                        </a:rPr>
                        <a:t>TB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0817006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FSF</a:t>
                      </a:r>
                    </a:p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Freesp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DE" sz="1000" b="1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562887"/>
                  </a:ext>
                </a:extLst>
              </a:tr>
              <a:tr h="249978"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PCL</a:t>
                      </a:r>
                    </a:p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Parking &amp; Curb Li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1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4791729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CI</a:t>
                      </a:r>
                    </a:p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raffic Control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1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33329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COH</a:t>
                      </a:r>
                    </a:p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Coherence &amp; Scene Det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1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24554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374757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4272582-F9BE-4551-B91E-4987C550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761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8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4272582-F9BE-4551-B91E-4987C550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itle 5">
            <a:extLst>
              <a:ext uri="{FF2B5EF4-FFF2-40B4-BE49-F238E27FC236}">
                <a16:creationId xmlns:a16="http://schemas.microsoft.com/office/drawing/2014/main" id="{AB06C1EB-172F-4D44-8F66-212D75F4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7974"/>
            <a:ext cx="8353425" cy="720726"/>
          </a:xfrm>
        </p:spPr>
        <p:txBody>
          <a:bodyPr vert="horz"/>
          <a:lstStyle/>
          <a:p>
            <a:r>
              <a:rPr lang="en-US" dirty="0"/>
              <a:t>COH Component Functionality</a:t>
            </a:r>
            <a:br>
              <a:rPr lang="en-US" dirty="0"/>
            </a:br>
            <a:endParaRPr lang="en-US" dirty="0">
              <a:solidFill>
                <a:schemeClr val="dk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529405C-4F68-4A1A-A1CA-19A7D0FE53C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6435"/>
          <a:stretch/>
        </p:blipFill>
        <p:spPr>
          <a:xfrm>
            <a:off x="280990" y="711199"/>
            <a:ext cx="6448423" cy="19524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974DE1A-6BD1-402C-A60A-9AC534EF43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3477" r="55703"/>
          <a:stretch/>
        </p:blipFill>
        <p:spPr>
          <a:xfrm>
            <a:off x="538164" y="2663662"/>
            <a:ext cx="3162681" cy="187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89730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4272582-F9BE-4551-B91E-4987C550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4272582-F9BE-4551-B91E-4987C550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itle 5">
            <a:extLst>
              <a:ext uri="{FF2B5EF4-FFF2-40B4-BE49-F238E27FC236}">
                <a16:creationId xmlns:a16="http://schemas.microsoft.com/office/drawing/2014/main" id="{AB06C1EB-172F-4D44-8F66-212D75F4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7974"/>
            <a:ext cx="8353425" cy="885032"/>
          </a:xfrm>
        </p:spPr>
        <p:txBody>
          <a:bodyPr vert="horz">
            <a:normAutofit/>
          </a:bodyPr>
          <a:lstStyle/>
          <a:p>
            <a:r>
              <a:rPr lang="en-US" dirty="0"/>
              <a:t>Lane Assignment Sub-component Functionality</a:t>
            </a:r>
            <a:br>
              <a:rPr lang="en-US" dirty="0"/>
            </a:br>
            <a:endParaRPr lang="en-US" dirty="0">
              <a:solidFill>
                <a:schemeClr val="dk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21DB82-4A9C-40F6-A657-9331C7FC13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1688" y="1316146"/>
            <a:ext cx="3225944" cy="294445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3798147-43D1-476E-A9C1-C49F4C161CEC}"/>
              </a:ext>
            </a:extLst>
          </p:cNvPr>
          <p:cNvSpPr/>
          <p:nvPr/>
        </p:nvSpPr>
        <p:spPr>
          <a:xfrm>
            <a:off x="495299" y="705534"/>
            <a:ext cx="79670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/>
              <a:t>Lane Assig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Determine which traffic participant (TP) is driving on which la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alculation depends heavily on the output of </a:t>
            </a:r>
            <a:r>
              <a:rPr lang="en-US" sz="1200" b="1" dirty="0"/>
              <a:t>TPF</a:t>
            </a:r>
            <a:r>
              <a:rPr lang="en-US" sz="1200" dirty="0"/>
              <a:t> and </a:t>
            </a:r>
            <a:r>
              <a:rPr lang="en-US" sz="1200" b="1" dirty="0"/>
              <a:t>RMF</a:t>
            </a:r>
            <a:r>
              <a:rPr lang="en-US" sz="1200" dirty="0"/>
              <a:t> components, and as well the camera data</a:t>
            </a:r>
          </a:p>
        </p:txBody>
      </p:sp>
    </p:spTree>
    <p:extLst>
      <p:ext uri="{BB962C8B-B14F-4D97-AF65-F5344CB8AC3E}">
        <p14:creationId xmlns:p14="http://schemas.microsoft.com/office/powerpoint/2010/main" val="216532502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9D658-8F29-4A71-86C5-A00AC217D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Problem to be solved</a:t>
            </a:r>
            <a:endParaRPr lang="en-US" dirty="0"/>
          </a:p>
        </p:txBody>
      </p:sp>
      <p:graphicFrame>
        <p:nvGraphicFramePr>
          <p:cNvPr id="10" name="Table 4">
            <a:extLst>
              <a:ext uri="{FF2B5EF4-FFF2-40B4-BE49-F238E27FC236}">
                <a16:creationId xmlns:a16="http://schemas.microsoft.com/office/drawing/2014/main" id="{618D1EEF-48F1-446E-843C-650199AAA0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9018596"/>
              </p:ext>
            </p:extLst>
          </p:nvPr>
        </p:nvGraphicFramePr>
        <p:xfrm>
          <a:off x="395286" y="713476"/>
          <a:ext cx="8353424" cy="37757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5485">
                  <a:extLst>
                    <a:ext uri="{9D8B030D-6E8A-4147-A177-3AD203B41FA5}">
                      <a16:colId xmlns:a16="http://schemas.microsoft.com/office/drawing/2014/main" val="281212975"/>
                    </a:ext>
                  </a:extLst>
                </a:gridCol>
                <a:gridCol w="3381198">
                  <a:extLst>
                    <a:ext uri="{9D8B030D-6E8A-4147-A177-3AD203B41FA5}">
                      <a16:colId xmlns:a16="http://schemas.microsoft.com/office/drawing/2014/main" val="2368499894"/>
                    </a:ext>
                  </a:extLst>
                </a:gridCol>
                <a:gridCol w="2394240">
                  <a:extLst>
                    <a:ext uri="{9D8B030D-6E8A-4147-A177-3AD203B41FA5}">
                      <a16:colId xmlns:a16="http://schemas.microsoft.com/office/drawing/2014/main" val="1088609163"/>
                    </a:ext>
                  </a:extLst>
                </a:gridCol>
                <a:gridCol w="2032501">
                  <a:extLst>
                    <a:ext uri="{9D8B030D-6E8A-4147-A177-3AD203B41FA5}">
                      <a16:colId xmlns:a16="http://schemas.microsoft.com/office/drawing/2014/main" val="77422228"/>
                    </a:ext>
                  </a:extLst>
                </a:gridCol>
              </a:tblGrid>
              <a:tr h="300937">
                <a:tc>
                  <a:txBody>
                    <a:bodyPr/>
                    <a:lstStyle/>
                    <a:p>
                      <a:r>
                        <a:rPr lang="de-DE" sz="1050" dirty="0"/>
                        <a:t>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50" dirty="0"/>
                        <a:t>Probl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Comment &amp; Attach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7115368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olution to be decide:</a:t>
                      </a:r>
                    </a:p>
                    <a:p>
                      <a:pPr marL="228600" indent="-228600" algn="l">
                        <a:buAutoNum type="alphaLcPeriod"/>
                      </a:pPr>
                      <a:r>
                        <a:rPr lang="en-US" altLang="zh-CN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PF</a:t>
                      </a:r>
                      <a:r>
                        <a:rPr lang="zh-CN" altLang="en-US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en-US" altLang="zh-CN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only -&gt; Object List</a:t>
                      </a:r>
                    </a:p>
                    <a:p>
                      <a:pPr marL="228600" indent="-228600" algn="l">
                        <a:buAutoNum type="alphaLcPeriod"/>
                      </a:pPr>
                      <a:r>
                        <a:rPr lang="en-US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PF</a:t>
                      </a:r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+ RMF + COH -&gt; Object List w/ Lane Info</a:t>
                      </a:r>
                      <a:endParaRPr lang="en-US" sz="1000" b="1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0" dirty="0">
                          <a:solidFill>
                            <a:schemeClr val="tx1"/>
                          </a:solidFill>
                        </a:rPr>
                        <a:t>Have to use </a:t>
                      </a:r>
                      <a:r>
                        <a:rPr lang="de-DE" sz="1000" b="1" dirty="0">
                          <a:solidFill>
                            <a:schemeClr val="tx1"/>
                          </a:solidFill>
                        </a:rPr>
                        <a:t>Solution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501114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PF only:</a:t>
                      </a:r>
                    </a:p>
                    <a:p>
                      <a:pPr algn="l"/>
                      <a:r>
                        <a:rPr lang="de-DE" sz="1000" b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f TPF output interface enough for ACC Gen4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888257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PF only:</a:t>
                      </a:r>
                    </a:p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ow to handle with missing interfac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1" dirty="0"/>
                        <a:t>Receive from Radar/Camera non fused output:</a:t>
                      </a:r>
                    </a:p>
                    <a:p>
                      <a:r>
                        <a:rPr lang="de-DE" sz="1000" b="1" dirty="0"/>
                        <a:t>e.g. Radar OD/LD, Camera Lane inf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4883614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PF only:</a:t>
                      </a:r>
                    </a:p>
                    <a:p>
                      <a:pPr algn="l"/>
                      <a:r>
                        <a:rPr lang="de-DE" sz="1000" dirty="0"/>
                        <a:t>Does RMF module missing affect Cut-in Cut-out performanc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de-DE" sz="1000" b="1" dirty="0"/>
                        <a:t>It is mandatory to have RMF module. Hard to ensure KPI without Lane &amp; Road boundry information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endParaRPr lang="de-DE" sz="1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0817006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Possibility of code management in Github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DE" sz="1000" b="1" dirty="0"/>
                        <a:t>Import ACC Gen4 algo into Githu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de-DE" sz="1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562887"/>
                  </a:ext>
                </a:extLst>
              </a:tr>
              <a:tr h="249978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4791729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33329"/>
                  </a:ext>
                </a:extLst>
              </a:tr>
              <a:tr h="394228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0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2455406"/>
                  </a:ext>
                </a:extLst>
              </a:tr>
            </a:tbl>
          </a:graphicData>
        </a:graphic>
      </p:graphicFrame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0E192620-FDE0-4114-A597-32E76F90A8D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41731795"/>
              </p:ext>
            </p:extLst>
          </p:nvPr>
        </p:nvGraphicFramePr>
        <p:xfrm>
          <a:off x="7092960" y="1506536"/>
          <a:ext cx="914400" cy="8108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2" name="Worksheet" showAsIcon="1" r:id="rId3" imgW="914328" imgH="792459" progId="Excel.Sheet.12">
                  <p:embed/>
                </p:oleObj>
              </mc:Choice>
              <mc:Fallback>
                <p:oleObj name="Worksheet" showAsIcon="1" r:id="rId3" imgW="914328" imgH="79245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092960" y="1506536"/>
                        <a:ext cx="914400" cy="8108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39B796BD-8AA8-4C6F-B1FA-99554867B0C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70643863"/>
              </p:ext>
            </p:extLst>
          </p:nvPr>
        </p:nvGraphicFramePr>
        <p:xfrm>
          <a:off x="7058824" y="2062956"/>
          <a:ext cx="982671" cy="508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3" name="Packager Shell Object" showAsIcon="1" r:id="rId5" imgW="1250280" imgH="648360" progId="Package">
                  <p:embed/>
                </p:oleObj>
              </mc:Choice>
              <mc:Fallback>
                <p:oleObj name="Packager Shell Object" showAsIcon="1" r:id="rId5" imgW="1250280" imgH="6483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058824" y="2062956"/>
                        <a:ext cx="982671" cy="508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ED42BD01-8C18-44A1-8970-4A83F38ECC0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21751657"/>
              </p:ext>
            </p:extLst>
          </p:nvPr>
        </p:nvGraphicFramePr>
        <p:xfrm>
          <a:off x="7092960" y="2601355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4" name="Worksheet" showAsIcon="1" r:id="rId7" imgW="914328" imgH="792459" progId="Excel.Sheet.12">
                  <p:embed/>
                </p:oleObj>
              </mc:Choice>
              <mc:Fallback>
                <p:oleObj name="Worksheet" showAsIcon="1" r:id="rId7" imgW="914328" imgH="79245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092960" y="2601355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215429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146853558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61F6A779-3926-4450-A0C3-572A8BA11B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9737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16" imgW="475" imgH="476" progId="TCLayout.ActiveDocument.1">
                  <p:embed/>
                </p:oleObj>
              </mc:Choice>
              <mc:Fallback>
                <p:oleObj name="think-cell Slide" r:id="rId16" imgW="475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61F6A779-3926-4450-A0C3-572A8BA11B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7A8132FC-7330-48BB-9721-92DA54C78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genda</a:t>
            </a:r>
            <a:endParaRPr lang="de-DE"/>
          </a:p>
        </p:txBody>
      </p:sp>
      <p:sp>
        <p:nvSpPr>
          <p:cNvPr id="43" name="Rectangle 15">
            <a:extLst>
              <a:ext uri="{FF2B5EF4-FFF2-40B4-BE49-F238E27FC236}">
                <a16:creationId xmlns:a16="http://schemas.microsoft.com/office/drawing/2014/main" id="{0AB722B4-9772-4852-A0EE-0ADC46AA2C7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56858" y="987781"/>
            <a:ext cx="7991856" cy="2743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MFC5J3 Solution Overview</a:t>
            </a:r>
            <a:r>
              <a:rPr lang="en-US" altLang="zh-CN" sz="1600" dirty="0">
                <a:solidFill>
                  <a:schemeClr val="bg1"/>
                </a:solidFill>
                <a:latin typeface="+mj-lt"/>
              </a:rPr>
              <a:t>		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7285E3E-DA19-4B60-9363-7AE8038FBCC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5289" y="987781"/>
            <a:ext cx="365760" cy="27432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600">
                <a:solidFill>
                  <a:schemeClr val="bg1"/>
                </a:solidFill>
                <a:latin typeface="Arial"/>
              </a:rPr>
              <a:t>1</a:t>
            </a:r>
          </a:p>
        </p:txBody>
      </p:sp>
      <p:sp>
        <p:nvSpPr>
          <p:cNvPr id="48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166D66CC-B654-4F68-840F-9520B900ECD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56858" y="1294676"/>
            <a:ext cx="7991856" cy="2743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System Architecture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D6F606AB-71CB-45EE-B80D-3843D4D6CEB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95289" y="1294676"/>
            <a:ext cx="365760" cy="27432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600">
                <a:solidFill>
                  <a:schemeClr val="bg1"/>
                </a:solidFill>
                <a:latin typeface="Arial"/>
              </a:rPr>
              <a:t>2</a:t>
            </a:r>
          </a:p>
        </p:txBody>
      </p:sp>
      <p:sp>
        <p:nvSpPr>
          <p:cNvPr id="50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F4A529A8-C0E2-4DBD-AA6F-84723EF65A0B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56462" y="1598170"/>
            <a:ext cx="7991856" cy="2743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Project Development Plan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FBCE319D-E356-44F7-BF4C-D4CAC7CFD4A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94893" y="1598170"/>
            <a:ext cx="357378" cy="27432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600">
                <a:solidFill>
                  <a:schemeClr val="bg1"/>
                </a:solidFill>
                <a:latin typeface="Arial"/>
              </a:rPr>
              <a:t>3</a:t>
            </a:r>
          </a:p>
        </p:txBody>
      </p:sp>
      <p:sp>
        <p:nvSpPr>
          <p:cNvPr id="52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B03E17D4-F6F7-43F3-97DC-F54889E7608A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56858" y="1907576"/>
            <a:ext cx="7991856" cy="2743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HW/SW development status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3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90E95E58-7B57-4421-8F2C-AA5AF134979F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95289" y="1907576"/>
            <a:ext cx="365760" cy="27432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600">
                <a:solidFill>
                  <a:schemeClr val="bg1"/>
                </a:solidFill>
                <a:latin typeface="Arial"/>
              </a:rPr>
              <a:t>4</a:t>
            </a:r>
          </a:p>
        </p:txBody>
      </p:sp>
      <p:sp>
        <p:nvSpPr>
          <p:cNvPr id="55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A5C8CF12-B87D-4A52-8DEA-FE878BFD12D2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6462" y="2216296"/>
            <a:ext cx="7991856" cy="2743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CEM Available Component</a:t>
            </a:r>
            <a:endParaRPr lang="de-DE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6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6156E267-6A18-414F-BFF6-6DBCD2221BC7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94893" y="2216296"/>
            <a:ext cx="365760" cy="27432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600">
                <a:solidFill>
                  <a:schemeClr val="bg1"/>
                </a:solidFill>
                <a:latin typeface="Arial"/>
              </a:rPr>
              <a:t>5</a:t>
            </a:r>
          </a:p>
        </p:txBody>
      </p:sp>
      <p:sp>
        <p:nvSpPr>
          <p:cNvPr id="57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31C2DC67-FA9F-4759-A0EC-5A7896F5C10E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56858" y="2514545"/>
            <a:ext cx="7991856" cy="2743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lvl="0"/>
            <a:r>
              <a:rPr lang="en-US" sz="1600" dirty="0">
                <a:solidFill>
                  <a:schemeClr val="bg1"/>
                </a:solidFill>
                <a:latin typeface="+mj-lt"/>
              </a:rPr>
              <a:t>Problem to be solved</a:t>
            </a:r>
            <a:r>
              <a:rPr lang="en-US" altLang="zh-CN" sz="1600" dirty="0">
                <a:solidFill>
                  <a:schemeClr val="bg1"/>
                </a:solidFill>
                <a:latin typeface="+mj-lt"/>
              </a:rPr>
              <a:t>					</a:t>
            </a:r>
            <a:endParaRPr lang="en-US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8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00EDE566-8D46-4B8A-BC5C-98BF9602C466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95289" y="2514545"/>
            <a:ext cx="365760" cy="27432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altLang="zh-CN" sz="1600">
                <a:solidFill>
                  <a:schemeClr val="bg1"/>
                </a:solidFill>
                <a:latin typeface="Arial"/>
              </a:rPr>
              <a:t>6</a:t>
            </a:r>
            <a:endParaRPr lang="en-US" sz="1600">
              <a:solidFill>
                <a:schemeClr val="bg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12262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4272582-F9BE-4551-B91E-4987C550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1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4272582-F9BE-4551-B91E-4987C550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itle 5">
            <a:extLst>
              <a:ext uri="{FF2B5EF4-FFF2-40B4-BE49-F238E27FC236}">
                <a16:creationId xmlns:a16="http://schemas.microsoft.com/office/drawing/2014/main" id="{AB06C1EB-172F-4D44-8F66-212D75F4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7974"/>
            <a:ext cx="8353425" cy="720726"/>
          </a:xfrm>
        </p:spPr>
        <p:txBody>
          <a:bodyPr vert="horz"/>
          <a:lstStyle/>
          <a:p>
            <a:r>
              <a:rPr lang="en-US" dirty="0"/>
              <a:t>MFC5J3 Solution Overview</a:t>
            </a:r>
            <a:br>
              <a:rPr lang="en-US" dirty="0"/>
            </a:b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1CEB0B-B819-472B-8F42-B21DBC890AA7}"/>
              </a:ext>
            </a:extLst>
          </p:cNvPr>
          <p:cNvSpPr txBox="1"/>
          <p:nvPr/>
        </p:nvSpPr>
        <p:spPr>
          <a:xfrm>
            <a:off x="395285" y="1028700"/>
            <a:ext cx="8353425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/>
              <a:t>MFC5J3 is a front viewing automotive monocular camera system</a:t>
            </a:r>
            <a:endParaRPr lang="en-US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/>
              <a:t>MFC5J3 configures ADAS functions and will particularly support the fulfillment of the CNCAP and Euro NCAP </a:t>
            </a:r>
          </a:p>
          <a:p>
            <a:endParaRPr lang="en-US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cs typeface="Arial"/>
              </a:rPr>
              <a:t>Base on MFC5J3, 1R1V and 3R1V system is under development: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solidFill>
                  <a:srgbClr val="FF0000"/>
                </a:solidFill>
                <a:cs typeface="Arial"/>
              </a:rPr>
              <a:t>1R1V – MFC5J3 + </a:t>
            </a:r>
            <a:r>
              <a:rPr lang="en-US" dirty="0">
                <a:solidFill>
                  <a:srgbClr val="FF0000"/>
                </a:solidFill>
              </a:rPr>
              <a:t>LRR ARS5xx</a:t>
            </a:r>
            <a:endParaRPr lang="en-US" dirty="0">
              <a:solidFill>
                <a:srgbClr val="FF0000"/>
              </a:solidFill>
              <a:cs typeface="Arial"/>
            </a:endParaRPr>
          </a:p>
          <a:p>
            <a:pPr marL="742950" lvl="1" indent="-285750">
              <a:buFont typeface="Arial"/>
              <a:buChar char="•"/>
            </a:pPr>
            <a:r>
              <a:rPr lang="en-US" dirty="0">
                <a:cs typeface="Arial"/>
              </a:rPr>
              <a:t>3R1V – MFC5J3 + LRR ARS5xx + 2 x SRR5xx (front L/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unction bundles processed inside MFC5J3 are listed below: </a:t>
            </a:r>
          </a:p>
          <a:p>
            <a:r>
              <a:rPr lang="en-US" dirty="0"/>
              <a:t>     ACC, AEB, TJA, LDW, LKA, LDP, RDP, TSA, HLA. </a:t>
            </a:r>
          </a:p>
        </p:txBody>
      </p:sp>
    </p:spTree>
    <p:extLst>
      <p:ext uri="{BB962C8B-B14F-4D97-AF65-F5344CB8AC3E}">
        <p14:creationId xmlns:p14="http://schemas.microsoft.com/office/powerpoint/2010/main" val="347626610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4272582-F9BE-4551-B91E-4987C550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2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4272582-F9BE-4551-B91E-4987C550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itle 5">
            <a:extLst>
              <a:ext uri="{FF2B5EF4-FFF2-40B4-BE49-F238E27FC236}">
                <a16:creationId xmlns:a16="http://schemas.microsoft.com/office/drawing/2014/main" id="{AB06C1EB-172F-4D44-8F66-212D75F4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7974"/>
            <a:ext cx="8353425" cy="720726"/>
          </a:xfrm>
        </p:spPr>
        <p:txBody>
          <a:bodyPr vert="horz"/>
          <a:lstStyle/>
          <a:p>
            <a:r>
              <a:rPr lang="en-US" dirty="0"/>
              <a:t>MFC5J3 Solution Overview</a:t>
            </a:r>
            <a:br>
              <a:rPr lang="en-US" dirty="0"/>
            </a:b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1CEB0B-B819-472B-8F42-B21DBC890AA7}"/>
              </a:ext>
            </a:extLst>
          </p:cNvPr>
          <p:cNvSpPr txBox="1"/>
          <p:nvPr/>
        </p:nvSpPr>
        <p:spPr>
          <a:xfrm>
            <a:off x="80010" y="668337"/>
            <a:ext cx="7372661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/>
            <a:r>
              <a:rPr lang="en-US" sz="1600" dirty="0">
                <a:cs typeface="Arial"/>
              </a:rPr>
              <a:t>Subcomponent Communication Topology</a:t>
            </a:r>
          </a:p>
          <a:p>
            <a:pPr marL="742950" lvl="1" indent="-285750">
              <a:buFont typeface="Arial"/>
              <a:buChar char="•"/>
            </a:pPr>
            <a:r>
              <a:rPr lang="en-US" sz="1600" dirty="0">
                <a:solidFill>
                  <a:srgbClr val="FF0000"/>
                </a:solidFill>
                <a:cs typeface="Arial"/>
              </a:rPr>
              <a:t>1R1V – MFC5J3 + </a:t>
            </a:r>
            <a:r>
              <a:rPr lang="en-US" sz="1600" dirty="0">
                <a:solidFill>
                  <a:srgbClr val="FF0000"/>
                </a:solidFill>
              </a:rPr>
              <a:t>LRR ARS5xx</a:t>
            </a:r>
            <a:endParaRPr lang="en-US" sz="1600" dirty="0">
              <a:solidFill>
                <a:srgbClr val="FF0000"/>
              </a:solidFill>
              <a:cs typeface="Arial"/>
            </a:endParaRPr>
          </a:p>
          <a:p>
            <a:pPr marL="742950" lvl="1" indent="-285750">
              <a:buFont typeface="Arial"/>
              <a:buChar char="•"/>
            </a:pPr>
            <a:r>
              <a:rPr lang="en-US" sz="1600" dirty="0">
                <a:cs typeface="Arial"/>
              </a:rPr>
              <a:t>3R1V – MFC5J3 + LRR ARS5xx + 2 x SRR5xx (front L/R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919F26-F0D0-4F1D-950F-603B4A2B7C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312" y="1708310"/>
            <a:ext cx="3672840" cy="27127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ECF4129-FEDC-4D1C-962D-3063562E89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0575" y="1629726"/>
            <a:ext cx="4206240" cy="279654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D189B29-18A0-43A3-B3D5-9F8FB9FD8E9F}"/>
              </a:ext>
            </a:extLst>
          </p:cNvPr>
          <p:cNvSpPr/>
          <p:nvPr/>
        </p:nvSpPr>
        <p:spPr>
          <a:xfrm>
            <a:off x="1790830" y="4014907"/>
            <a:ext cx="6335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  <a:cs typeface="Arial"/>
              </a:rPr>
              <a:t>1R1V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B35830-CD86-4B3B-AD02-7643C3A3FED8}"/>
              </a:ext>
            </a:extLst>
          </p:cNvPr>
          <p:cNvSpPr/>
          <p:nvPr/>
        </p:nvSpPr>
        <p:spPr>
          <a:xfrm>
            <a:off x="5762755" y="4014907"/>
            <a:ext cx="6335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cs typeface="Arial"/>
              </a:rPr>
              <a:t>3R1V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1343011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4272582-F9BE-4551-B91E-4987C550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4272582-F9BE-4551-B91E-4987C550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itle 5">
            <a:extLst>
              <a:ext uri="{FF2B5EF4-FFF2-40B4-BE49-F238E27FC236}">
                <a16:creationId xmlns:a16="http://schemas.microsoft.com/office/drawing/2014/main" id="{AB06C1EB-172F-4D44-8F66-212D75F4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7974"/>
            <a:ext cx="8353425" cy="720726"/>
          </a:xfrm>
        </p:spPr>
        <p:txBody>
          <a:bodyPr vert="horz"/>
          <a:lstStyle/>
          <a:p>
            <a:r>
              <a:rPr lang="en-US" dirty="0"/>
              <a:t>MFC5J3 Solution Overview</a:t>
            </a:r>
            <a:br>
              <a:rPr lang="en-US" dirty="0"/>
            </a:b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1CEB0B-B819-472B-8F42-B21DBC890AA7}"/>
              </a:ext>
            </a:extLst>
          </p:cNvPr>
          <p:cNvSpPr txBox="1"/>
          <p:nvPr/>
        </p:nvSpPr>
        <p:spPr>
          <a:xfrm>
            <a:off x="80010" y="668337"/>
            <a:ext cx="737266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742950" lvl="1" indent="-285750">
              <a:buFont typeface="Arial"/>
              <a:buChar char="•"/>
            </a:pPr>
            <a:r>
              <a:rPr lang="en-US" sz="1600" dirty="0">
                <a:solidFill>
                  <a:srgbClr val="FF0000"/>
                </a:solidFill>
                <a:cs typeface="Arial"/>
              </a:rPr>
              <a:t>1R1V – MFC5J3 + </a:t>
            </a:r>
            <a:r>
              <a:rPr lang="en-US" sz="1600" dirty="0">
                <a:solidFill>
                  <a:srgbClr val="FF0000"/>
                </a:solidFill>
              </a:rPr>
              <a:t>LRR ARS5xx</a:t>
            </a:r>
            <a:endParaRPr lang="en-US" sz="1600" dirty="0">
              <a:solidFill>
                <a:srgbClr val="FF0000"/>
              </a:solidFill>
              <a:cs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57A015A-5215-40D8-8A9E-96BDE3DBE3FD}"/>
              </a:ext>
            </a:extLst>
          </p:cNvPr>
          <p:cNvGrpSpPr/>
          <p:nvPr/>
        </p:nvGrpSpPr>
        <p:grpSpPr>
          <a:xfrm>
            <a:off x="177211" y="1021556"/>
            <a:ext cx="8789577" cy="3302897"/>
            <a:chOff x="177211" y="1021556"/>
            <a:chExt cx="8789577" cy="3302897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7B40D4B-0E6E-4FDB-B98F-90226271EE55}"/>
                </a:ext>
              </a:extLst>
            </p:cNvPr>
            <p:cNvGrpSpPr/>
            <p:nvPr/>
          </p:nvGrpSpPr>
          <p:grpSpPr>
            <a:xfrm>
              <a:off x="177211" y="1021556"/>
              <a:ext cx="8789577" cy="3302897"/>
              <a:chOff x="107157" y="675116"/>
              <a:chExt cx="9144000" cy="3436080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CE4229C4-863B-41E5-8149-EEA1A5A7B2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7157" y="675116"/>
                <a:ext cx="9144000" cy="3436080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00E2909-AC50-42B3-8ADB-DC58CDAF7095}"/>
                  </a:ext>
                </a:extLst>
              </p:cNvPr>
              <p:cNvSpPr txBox="1"/>
              <p:nvPr/>
            </p:nvSpPr>
            <p:spPr>
              <a:xfrm>
                <a:off x="2007394" y="675116"/>
                <a:ext cx="2465740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dirty="0"/>
                  <a:t>Front Monocular Camera</a:t>
                </a:r>
              </a:p>
              <a:p>
                <a:r>
                  <a:rPr lang="en-US" sz="1200" dirty="0"/>
                  <a:t>1.7MP @ 30FPS</a:t>
                </a:r>
              </a:p>
              <a:p>
                <a:r>
                  <a:rPr lang="en-US" sz="1200" dirty="0"/>
                  <a:t>FOV 110</a:t>
                </a:r>
                <a:r>
                  <a:rPr lang="en-US" altLang="zh-CN" sz="1200" dirty="0"/>
                  <a:t>°</a:t>
                </a:r>
                <a:endParaRPr lang="en-US" sz="1200" dirty="0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FB7FA9C-302F-43A2-8087-371033F17A8C}"/>
                  </a:ext>
                </a:extLst>
              </p:cNvPr>
              <p:cNvSpPr txBox="1"/>
              <p:nvPr/>
            </p:nvSpPr>
            <p:spPr>
              <a:xfrm>
                <a:off x="923925" y="3758524"/>
                <a:ext cx="92365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dirty="0"/>
                  <a:t>ARS5xx</a:t>
                </a:r>
                <a:endParaRPr lang="en-US" sz="1200" dirty="0"/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BD9ABC2-144D-4A03-A252-3756DF20F060}"/>
                  </a:ext>
                </a:extLst>
              </p:cNvPr>
              <p:cNvSpPr txBox="1"/>
              <p:nvPr/>
            </p:nvSpPr>
            <p:spPr>
              <a:xfrm>
                <a:off x="5680771" y="3224919"/>
                <a:ext cx="102944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200" dirty="0">
                    <a:solidFill>
                      <a:srgbClr val="FF0000"/>
                    </a:solidFill>
                  </a:rPr>
                  <a:t>Private CAN</a:t>
                </a:r>
                <a:endParaRPr lang="en-US" sz="105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8401FF6-8F00-401B-A6E3-158A996A49A0}"/>
                  </a:ext>
                </a:extLst>
              </p:cNvPr>
              <p:cNvSpPr txBox="1"/>
              <p:nvPr/>
            </p:nvSpPr>
            <p:spPr>
              <a:xfrm>
                <a:off x="7547133" y="3752292"/>
                <a:ext cx="96853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200" dirty="0"/>
                  <a:t>Public CAN</a:t>
                </a:r>
                <a:endParaRPr lang="en-US" sz="1050" dirty="0"/>
              </a:p>
            </p:txBody>
          </p: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650965FE-859E-4269-89D3-A63C39245218}"/>
                </a:ext>
              </a:extLst>
            </p:cNvPr>
            <p:cNvSpPr txBox="1"/>
            <p:nvPr/>
          </p:nvSpPr>
          <p:spPr>
            <a:xfrm>
              <a:off x="7696200" y="2817784"/>
              <a:ext cx="675366" cy="261610"/>
            </a:xfrm>
            <a:prstGeom prst="rect">
              <a:avLst/>
            </a:prstGeom>
            <a:solidFill>
              <a:srgbClr val="B9DA8F"/>
            </a:solidFill>
          </p:spPr>
          <p:txBody>
            <a:bodyPr wrap="square" rtlCol="0">
              <a:spAutoFit/>
            </a:bodyPr>
            <a:lstStyle/>
            <a:p>
              <a:r>
                <a:rPr lang="en-US" sz="1100" b="1" dirty="0"/>
                <a:t>TC38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173412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6463FF10-63C4-4C8A-99D4-C218E23160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699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6463FF10-63C4-4C8A-99D4-C218E2316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3074FE9-EC80-4B4F-90B7-73B79BAD6F6B}"/>
              </a:ext>
            </a:extLst>
          </p:cNvPr>
          <p:cNvSpPr/>
          <p:nvPr/>
        </p:nvSpPr>
        <p:spPr>
          <a:xfrm>
            <a:off x="381002" y="3287683"/>
            <a:ext cx="2400544" cy="58996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orizon J3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D7A732-965F-4A43-BA90-F291DC72A8E8}"/>
              </a:ext>
            </a:extLst>
          </p:cNvPr>
          <p:cNvSpPr/>
          <p:nvPr/>
        </p:nvSpPr>
        <p:spPr>
          <a:xfrm>
            <a:off x="381001" y="1370794"/>
            <a:ext cx="2400545" cy="185572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ercep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0C38C1-B489-4905-8A6D-BE9F1A8944CA}"/>
              </a:ext>
            </a:extLst>
          </p:cNvPr>
          <p:cNvSpPr/>
          <p:nvPr/>
        </p:nvSpPr>
        <p:spPr>
          <a:xfrm>
            <a:off x="2844901" y="3287683"/>
            <a:ext cx="2400544" cy="58996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urix</a:t>
            </a:r>
            <a:r>
              <a:rPr lang="en-US" dirty="0"/>
              <a:t> TC387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942F06-E047-4053-BF6B-0D0D0FD0B6AF}"/>
              </a:ext>
            </a:extLst>
          </p:cNvPr>
          <p:cNvSpPr/>
          <p:nvPr/>
        </p:nvSpPr>
        <p:spPr>
          <a:xfrm>
            <a:off x="381001" y="724259"/>
            <a:ext cx="2400545" cy="5899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E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F8A486-E09F-4458-BC90-378BD68AE7DF}"/>
              </a:ext>
            </a:extLst>
          </p:cNvPr>
          <p:cNvSpPr/>
          <p:nvPr/>
        </p:nvSpPr>
        <p:spPr>
          <a:xfrm>
            <a:off x="2844902" y="724259"/>
            <a:ext cx="2393820" cy="5899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riving</a:t>
            </a:r>
          </a:p>
          <a:p>
            <a:pPr algn="ctr"/>
            <a:r>
              <a:rPr lang="en-US"/>
              <a:t>Func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3915DF-5D1B-4C36-B68B-DB289441C431}"/>
              </a:ext>
            </a:extLst>
          </p:cNvPr>
          <p:cNvSpPr/>
          <p:nvPr/>
        </p:nvSpPr>
        <p:spPr>
          <a:xfrm>
            <a:off x="3644652" y="3948344"/>
            <a:ext cx="1599502" cy="302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ontinental</a:t>
            </a: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54387CF2-3FB8-4528-AF34-7E4F331D7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7974"/>
            <a:ext cx="8353425" cy="720726"/>
          </a:xfrm>
        </p:spPr>
        <p:txBody>
          <a:bodyPr vert="horz"/>
          <a:lstStyle/>
          <a:p>
            <a:r>
              <a:rPr lang="en-US"/>
              <a:t>MFC5J3 Technical Overview</a:t>
            </a:r>
            <a:br>
              <a:rPr lang="en-US"/>
            </a:br>
            <a:endParaRPr lang="en-US">
              <a:solidFill>
                <a:schemeClr val="dk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B7A02B7-05CE-4426-A702-67BA2E3A098C}"/>
              </a:ext>
            </a:extLst>
          </p:cNvPr>
          <p:cNvSpPr/>
          <p:nvPr/>
        </p:nvSpPr>
        <p:spPr>
          <a:xfrm>
            <a:off x="2844901" y="1370794"/>
            <a:ext cx="2400544" cy="18557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Basic Softwa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38A535-6AEB-4AC0-89B9-FC02AF943F24}"/>
              </a:ext>
            </a:extLst>
          </p:cNvPr>
          <p:cNvSpPr/>
          <p:nvPr/>
        </p:nvSpPr>
        <p:spPr>
          <a:xfrm>
            <a:off x="2008245" y="3948344"/>
            <a:ext cx="1599502" cy="30200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oriz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E2DEEF4-CC35-4017-BE5F-6970B615BD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2001" y="2734540"/>
            <a:ext cx="2346576" cy="114310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F8F7510-0E14-4C29-A6B5-66FD1C2E3451}"/>
              </a:ext>
            </a:extLst>
          </p:cNvPr>
          <p:cNvSpPr/>
          <p:nvPr/>
        </p:nvSpPr>
        <p:spPr>
          <a:xfrm>
            <a:off x="5849675" y="724259"/>
            <a:ext cx="1067998" cy="3044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bg2">
                    <a:lumMod val="10000"/>
                  </a:schemeClr>
                </a:solidFill>
              </a:rPr>
              <a:t>ACC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35DA97B-8812-436C-A1C5-C0E59C16012B}"/>
              </a:ext>
            </a:extLst>
          </p:cNvPr>
          <p:cNvSpPr/>
          <p:nvPr/>
        </p:nvSpPr>
        <p:spPr>
          <a:xfrm>
            <a:off x="7045289" y="724259"/>
            <a:ext cx="1067998" cy="3044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</a:rPr>
              <a:t>AE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D6C2649-E8EB-4FAB-B729-446B49A552B5}"/>
              </a:ext>
            </a:extLst>
          </p:cNvPr>
          <p:cNvSpPr/>
          <p:nvPr/>
        </p:nvSpPr>
        <p:spPr>
          <a:xfrm>
            <a:off x="5849675" y="1127124"/>
            <a:ext cx="1067998" cy="3044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bg2">
                    <a:lumMod val="10000"/>
                  </a:schemeClr>
                </a:solidFill>
              </a:rPr>
              <a:t>LCF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786E12-1A25-4595-816D-4CCBB2C85EF6}"/>
              </a:ext>
            </a:extLst>
          </p:cNvPr>
          <p:cNvSpPr/>
          <p:nvPr/>
        </p:nvSpPr>
        <p:spPr>
          <a:xfrm>
            <a:off x="5849675" y="1525571"/>
            <a:ext cx="1067998" cy="3044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bg2">
                    <a:lumMod val="10000"/>
                  </a:schemeClr>
                </a:solidFill>
              </a:rPr>
              <a:t>HLA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C7AE8A-0ECE-4AC7-9642-2C69BF1E51E6}"/>
              </a:ext>
            </a:extLst>
          </p:cNvPr>
          <p:cNvSpPr/>
          <p:nvPr/>
        </p:nvSpPr>
        <p:spPr>
          <a:xfrm>
            <a:off x="7045289" y="1525571"/>
            <a:ext cx="1067998" cy="3044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bg2">
                    <a:lumMod val="10000"/>
                  </a:schemeClr>
                </a:solidFill>
              </a:rPr>
              <a:t>TSR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9DF54EB-3FB5-4145-A3FF-30FB02032488}"/>
              </a:ext>
            </a:extLst>
          </p:cNvPr>
          <p:cNvCxnSpPr/>
          <p:nvPr/>
        </p:nvCxnSpPr>
        <p:spPr>
          <a:xfrm>
            <a:off x="5302250" y="724259"/>
            <a:ext cx="488950" cy="0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4D2B6A7-86B3-4E99-A521-C100BE8256C2}"/>
              </a:ext>
            </a:extLst>
          </p:cNvPr>
          <p:cNvCxnSpPr>
            <a:cxnSpLocks/>
          </p:cNvCxnSpPr>
          <p:nvPr/>
        </p:nvCxnSpPr>
        <p:spPr>
          <a:xfrm>
            <a:off x="5302250" y="1314223"/>
            <a:ext cx="488950" cy="515789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F83FD699-7A83-4EEA-B63C-180D7AE0C825}"/>
              </a:ext>
            </a:extLst>
          </p:cNvPr>
          <p:cNvSpPr/>
          <p:nvPr/>
        </p:nvSpPr>
        <p:spPr>
          <a:xfrm>
            <a:off x="6215574" y="3948344"/>
            <a:ext cx="16594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FF0000"/>
                </a:solidFill>
                <a:cs typeface="Arial"/>
              </a:rPr>
              <a:t>1R1V Sol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64036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4272582-F9BE-4551-B91E-4987C550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900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80" imgW="475" imgH="476" progId="TCLayout.ActiveDocument.1">
                  <p:embed/>
                </p:oleObj>
              </mc:Choice>
              <mc:Fallback>
                <p:oleObj name="think-cell Slide" r:id="rId80" imgW="475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4272582-F9BE-4551-B91E-4987C550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itle 5">
            <a:extLst>
              <a:ext uri="{FF2B5EF4-FFF2-40B4-BE49-F238E27FC236}">
                <a16:creationId xmlns:a16="http://schemas.microsoft.com/office/drawing/2014/main" id="{AB06C1EB-172F-4D44-8F66-212D75F4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464" y="57150"/>
            <a:ext cx="8353425" cy="381000"/>
          </a:xfrm>
        </p:spPr>
        <p:txBody>
          <a:bodyPr vert="horz"/>
          <a:lstStyle/>
          <a:p>
            <a:r>
              <a:rPr lang="en-US" dirty="0"/>
              <a:t>MFC5J3 Project timing (1R1V)</a:t>
            </a: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206" name="Textplatzhalter 2">
            <a:extLst>
              <a:ext uri="{FF2B5EF4-FFF2-40B4-BE49-F238E27FC236}">
                <a16:creationId xmlns:a16="http://schemas.microsoft.com/office/drawing/2014/main" id="{9E1367D4-28B6-4119-842C-9A085E9D627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19200" y="547688"/>
            <a:ext cx="38306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96B13E-3117-4CD9-915F-4CAD95924113}" type="datetime'20''''2''''''''''''''''1'''''''''''">
              <a:rPr lang="de-DE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400" b="1" noProof="0"/>
          </a:p>
        </p:txBody>
      </p:sp>
      <p:sp>
        <p:nvSpPr>
          <p:cNvPr id="207" name="Textplatzhalter 2">
            <a:extLst>
              <a:ext uri="{FF2B5EF4-FFF2-40B4-BE49-F238E27FC236}">
                <a16:creationId xmlns:a16="http://schemas.microsoft.com/office/drawing/2014/main" id="{0B4A72E4-8F49-4599-9D39-7CB5CDC8900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049838" y="547688"/>
            <a:ext cx="37671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4D41D2-F643-40A3-805B-9B0C9B42406E}" type="datetime'''''''''''''20''''''''''22'''''''''''''''''''''''''">
              <a:rPr lang="de-DE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400" b="1" noProof="0"/>
          </a:p>
        </p:txBody>
      </p:sp>
      <p:sp>
        <p:nvSpPr>
          <p:cNvPr id="208" name="Textplatzhalter 2">
            <a:extLst>
              <a:ext uri="{FF2B5EF4-FFF2-40B4-BE49-F238E27FC236}">
                <a16:creationId xmlns:a16="http://schemas.microsoft.com/office/drawing/2014/main" id="{69228C3E-55D0-4A11-B86B-0DBD73E7B5E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19200" y="808038"/>
            <a:ext cx="6445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8F6046-57D3-44D6-BFA6-3D490A240645}" type="datetime'''''''''''''''''''''''''''''J''''''''''u''''''''''''''l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US" sz="1400" b="1" noProof="0"/>
          </a:p>
        </p:txBody>
      </p:sp>
      <p:sp>
        <p:nvSpPr>
          <p:cNvPr id="209" name="Textplatzhalter 2">
            <a:extLst>
              <a:ext uri="{FF2B5EF4-FFF2-40B4-BE49-F238E27FC236}">
                <a16:creationId xmlns:a16="http://schemas.microsoft.com/office/drawing/2014/main" id="{E3871573-23FE-4E7A-8E9C-F04056EE70B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63725" y="808038"/>
            <a:ext cx="6461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418CCA-189B-4CCE-8A79-811B4A55A662}" type="datetime'''''''''''''''''''''''A''''''''''''u''''''g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US" sz="1400" b="1" noProof="0"/>
          </a:p>
        </p:txBody>
      </p:sp>
      <p:sp>
        <p:nvSpPr>
          <p:cNvPr id="210" name="Textplatzhalter 2">
            <a:extLst>
              <a:ext uri="{FF2B5EF4-FFF2-40B4-BE49-F238E27FC236}">
                <a16:creationId xmlns:a16="http://schemas.microsoft.com/office/drawing/2014/main" id="{DF6B9752-BBD2-42E1-9E30-103B894DCA1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09838" y="808038"/>
            <a:ext cx="6238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FF63FC-F5EA-448F-9713-F865C715A523}" type="datetime'''''''''''''''''''S''''''''''''''''e''''p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en-US" sz="1400" b="1" noProof="0"/>
          </a:p>
        </p:txBody>
      </p:sp>
      <p:sp>
        <p:nvSpPr>
          <p:cNvPr id="211" name="Textplatzhalter 2">
            <a:extLst>
              <a:ext uri="{FF2B5EF4-FFF2-40B4-BE49-F238E27FC236}">
                <a16:creationId xmlns:a16="http://schemas.microsoft.com/office/drawing/2014/main" id="{36B33435-9F9D-47D9-851D-DF89BC995A9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33725" y="808038"/>
            <a:ext cx="6461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ACBECD-B473-4898-BDBE-9E1E3CDCCCFA}" type="datetime'''''''''''''O''''''''''''''''''''''''''c''''''''''''''''t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en-US" sz="1400" b="1" noProof="0"/>
          </a:p>
        </p:txBody>
      </p:sp>
      <p:sp>
        <p:nvSpPr>
          <p:cNvPr id="212" name="Textplatzhalter 2">
            <a:extLst>
              <a:ext uri="{FF2B5EF4-FFF2-40B4-BE49-F238E27FC236}">
                <a16:creationId xmlns:a16="http://schemas.microsoft.com/office/drawing/2014/main" id="{0135892B-C866-4BA8-995B-9D73F33EBB4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779838" y="808038"/>
            <a:ext cx="6238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F6EF81-2818-4159-B99E-37FABBF31A8A}" type="datetime'''N''''''''''''''''''''o''''''''''v''''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en-US" sz="1400" b="1" noProof="0"/>
          </a:p>
        </p:txBody>
      </p:sp>
      <p:sp>
        <p:nvSpPr>
          <p:cNvPr id="213" name="Textplatzhalter 2">
            <a:extLst>
              <a:ext uri="{FF2B5EF4-FFF2-40B4-BE49-F238E27FC236}">
                <a16:creationId xmlns:a16="http://schemas.microsoft.com/office/drawing/2014/main" id="{84B25C79-60D1-46EB-A2F5-CA570DD7FCC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403725" y="808038"/>
            <a:ext cx="6461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18B8A0-0D38-4D79-92EA-9B543838A3DC}" type="datetime'D''''e''c''''''''''''''''''''''''''''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en-US" sz="1400" b="1" noProof="0"/>
          </a:p>
        </p:txBody>
      </p:sp>
      <p:sp>
        <p:nvSpPr>
          <p:cNvPr id="214" name="Textplatzhalter 2">
            <a:extLst>
              <a:ext uri="{FF2B5EF4-FFF2-40B4-BE49-F238E27FC236}">
                <a16:creationId xmlns:a16="http://schemas.microsoft.com/office/drawing/2014/main" id="{AC69695F-24DB-4A1B-9BC8-F85B72DFCC5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049838" y="808038"/>
            <a:ext cx="6445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2E8480-136E-4B03-88F5-226D46A53DFD}" type="datetime'''''''''''''''''''''''''Ja''''''''''''n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en-US" sz="1400" b="1" noProof="0"/>
          </a:p>
        </p:txBody>
      </p:sp>
      <p:sp>
        <p:nvSpPr>
          <p:cNvPr id="215" name="Textplatzhalter 2">
            <a:extLst>
              <a:ext uri="{FF2B5EF4-FFF2-40B4-BE49-F238E27FC236}">
                <a16:creationId xmlns:a16="http://schemas.microsoft.com/office/drawing/2014/main" id="{608C7124-1C20-4C32-A396-771AB3C3520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694363" y="808038"/>
            <a:ext cx="5826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DBC512-F281-450F-B7B4-8AB73C2BBD0C}" type="datetime'''''''''''''''''''''''''''''''F''''eb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en-US" sz="1400" b="1" noProof="0"/>
          </a:p>
        </p:txBody>
      </p:sp>
      <p:sp>
        <p:nvSpPr>
          <p:cNvPr id="216" name="Textplatzhalter 2">
            <a:extLst>
              <a:ext uri="{FF2B5EF4-FFF2-40B4-BE49-F238E27FC236}">
                <a16:creationId xmlns:a16="http://schemas.microsoft.com/office/drawing/2014/main" id="{F7B0C8E3-7019-46E8-92F3-25C11A4748D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276975" y="808038"/>
            <a:ext cx="6461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6D11F0-A229-4AF4-907B-421C0F7C989A}" type="datetime'''''''''''M''''''a''''''''''r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en-US" sz="1400" b="1" noProof="0"/>
          </a:p>
        </p:txBody>
      </p:sp>
      <p:sp>
        <p:nvSpPr>
          <p:cNvPr id="217" name="Textplatzhalter 2">
            <a:extLst>
              <a:ext uri="{FF2B5EF4-FFF2-40B4-BE49-F238E27FC236}">
                <a16:creationId xmlns:a16="http://schemas.microsoft.com/office/drawing/2014/main" id="{651A3D62-51BC-4E84-B66A-7C2CA2A436B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923088" y="808038"/>
            <a:ext cx="6238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956D2A-005F-4A81-8B9A-5F38E6BF4B40}" type="datetime'''''''A''''p''''r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en-US" sz="1400" b="1" noProof="0"/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28BE8510-1A4E-4380-B725-19EDA6F9168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546975" y="808038"/>
            <a:ext cx="6461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/>
              <a:t>May</a:t>
            </a:r>
            <a:endParaRPr lang="en-US" sz="1400" b="1" noProof="0"/>
          </a:p>
        </p:txBody>
      </p:sp>
      <p:sp>
        <p:nvSpPr>
          <p:cNvPr id="82" name="Textplatzhalter 2">
            <a:extLst>
              <a:ext uri="{FF2B5EF4-FFF2-40B4-BE49-F238E27FC236}">
                <a16:creationId xmlns:a16="http://schemas.microsoft.com/office/drawing/2014/main" id="{D5E92396-260A-4412-A24B-E94522824C4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193088" y="808038"/>
            <a:ext cx="6238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/>
              <a:t>Jun</a:t>
            </a:r>
            <a:endParaRPr lang="en-US" sz="1400" b="1" noProof="0"/>
          </a:p>
        </p:txBody>
      </p: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FE9E4FF0-6F82-407D-BE55-B4BC5E4AE1F8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2509838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A61AE575-F2D7-4572-9022-508021FC1CD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049838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C821A027-C170-4C7C-AE38-DDE6E5D20B2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276975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C72A678-3680-4A30-A8B5-F42099603D3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7546975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A8768A-68D4-43FF-8944-51A5EF336ED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193088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30748805-D537-4C19-82DE-0F236430D07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219200" y="1068387"/>
            <a:ext cx="0" cy="29543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9E54490D-7710-438E-85CE-90B5E3D97DA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816975" y="1068387"/>
            <a:ext cx="0" cy="29543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B2892B2A-2DFA-4279-BC51-326F1ECA6795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228600" y="1068387"/>
            <a:ext cx="0" cy="29543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60AE5B9-69C5-42B9-9B7D-32471A544139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694363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F15A0E99-E5D3-4AE0-9087-11A4A27B91A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6923088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C8582662-0EB7-477E-AC97-B76DB2CBB0AA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3779838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79105BC4-B266-45F3-BB0F-1D89E0F91C29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863725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95B708BE-B96A-425B-8F6D-532A98226894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3133725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CC0B4B24-2B44-44B9-B76B-4F4D34AFE38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4403725" y="1068387"/>
            <a:ext cx="0" cy="29543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69A525BE-CD2C-4A75-9AB7-B49A4949D65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228600" y="1519238"/>
            <a:ext cx="85883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B06B517D-E06E-4F67-8024-C8683B6CF11E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228600" y="1984375"/>
            <a:ext cx="85883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180A853-8A9C-42D5-901B-F481F1CB89C0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228600" y="2803525"/>
            <a:ext cx="85883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14F49EA6-43D5-4A9E-8417-8F19021A8A2E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228600" y="3305175"/>
            <a:ext cx="85883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33D8A905-594E-4830-BE4B-358748CAED01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228600" y="4022725"/>
            <a:ext cx="85883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E4896E1D-505E-49CD-A0DA-83350E87DD74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1912095" y="1077913"/>
            <a:ext cx="0" cy="311785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D37401B9-2698-4001-9BB4-F4D4C81B5392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228600" y="1068388"/>
            <a:ext cx="85883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7" name="Textplatzhalter 2">
            <a:extLst>
              <a:ext uri="{FF2B5EF4-FFF2-40B4-BE49-F238E27FC236}">
                <a16:creationId xmlns:a16="http://schemas.microsoft.com/office/drawing/2014/main" id="{00D75407-36A9-41C0-A349-F2B11B106B6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967413" y="1077913"/>
            <a:ext cx="1871663" cy="204788"/>
          </a:xfrm>
          <a:prstGeom prst="chevron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0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/>
              <a:t>PV</a:t>
            </a:r>
            <a:endParaRPr lang="en-US" sz="800" noProof="0"/>
          </a:p>
        </p:txBody>
      </p:sp>
      <p:sp>
        <p:nvSpPr>
          <p:cNvPr id="239" name="Textplatzhalter 2">
            <a:extLst>
              <a:ext uri="{FF2B5EF4-FFF2-40B4-BE49-F238E27FC236}">
                <a16:creationId xmlns:a16="http://schemas.microsoft.com/office/drawing/2014/main" id="{868E4D61-135A-4841-BC3C-7F319FA3B51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364038" y="1077913"/>
            <a:ext cx="1643063" cy="204788"/>
          </a:xfrm>
          <a:prstGeom prst="chevron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0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noProof="0"/>
              <a:t>DV </a:t>
            </a:r>
          </a:p>
        </p:txBody>
      </p:sp>
      <p:sp>
        <p:nvSpPr>
          <p:cNvPr id="240" name="Textplatzhalter 2">
            <a:extLst>
              <a:ext uri="{FF2B5EF4-FFF2-40B4-BE49-F238E27FC236}">
                <a16:creationId xmlns:a16="http://schemas.microsoft.com/office/drawing/2014/main" id="{5E4913E7-E79E-4644-9964-A8CA09C93DC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573463" y="1077913"/>
            <a:ext cx="830263" cy="204788"/>
          </a:xfrm>
          <a:prstGeom prst="chevron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0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/>
              <a:t>B Sample</a:t>
            </a:r>
            <a:endParaRPr lang="en-US" sz="800" noProof="0"/>
          </a:p>
        </p:txBody>
      </p:sp>
      <p:sp>
        <p:nvSpPr>
          <p:cNvPr id="136" name="Textplatzhalter 2">
            <a:extLst>
              <a:ext uri="{FF2B5EF4-FFF2-40B4-BE49-F238E27FC236}">
                <a16:creationId xmlns:a16="http://schemas.microsoft.com/office/drawing/2014/main" id="{CF89CC0C-9430-4D93-989B-2E49531228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943600" y="1543050"/>
            <a:ext cx="1020763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7463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BSW Bug fix</a:t>
            </a:r>
            <a:endParaRPr lang="en-US" sz="800" noProof="0"/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754A0973-E8A8-4120-9EFD-D288C30F5BE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546975" y="3578225"/>
            <a:ext cx="438150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5875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PPAP</a:t>
            </a:r>
            <a:endParaRPr lang="en-US" sz="800" noProof="0"/>
          </a:p>
        </p:txBody>
      </p:sp>
      <p:sp>
        <p:nvSpPr>
          <p:cNvPr id="242" name="Textplatzhalter 2">
            <a:extLst>
              <a:ext uri="{FF2B5EF4-FFF2-40B4-BE49-F238E27FC236}">
                <a16:creationId xmlns:a16="http://schemas.microsoft.com/office/drawing/2014/main" id="{2E011939-34C4-4D97-BD08-E510277F10B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2844800" y="1077913"/>
            <a:ext cx="768350" cy="204788"/>
          </a:xfrm>
          <a:prstGeom prst="chevron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0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/>
              <a:t>Pre DV</a:t>
            </a:r>
            <a:endParaRPr lang="en-US" sz="800" noProof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D6E2C73F-F3BE-4458-A85D-194F1D9C95B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759450" y="3328988"/>
            <a:ext cx="309563" cy="204788"/>
          </a:xfrm>
          <a:prstGeom prst="chevron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0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build</a:t>
            </a:r>
            <a:endParaRPr lang="en-US" sz="800" noProof="0"/>
          </a:p>
        </p:txBody>
      </p:sp>
      <p:sp>
        <p:nvSpPr>
          <p:cNvPr id="400" name="Textplatzhalter 2">
            <a:extLst>
              <a:ext uri="{FF2B5EF4-FFF2-40B4-BE49-F238E27FC236}">
                <a16:creationId xmlns:a16="http://schemas.microsoft.com/office/drawing/2014/main" id="{3715C4A3-DB57-4920-BD34-7F5385061BD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779838" y="1543050"/>
            <a:ext cx="1727200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5875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800" noProof="0"/>
              <a:t>BSW dev.</a:t>
            </a:r>
            <a:endParaRPr lang="en-US" sz="800" noProof="0"/>
          </a:p>
        </p:txBody>
      </p:sp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C5BB2288-6601-4C3F-9693-BC13C84018FE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573463" y="2827338"/>
            <a:ext cx="1954213" cy="204788"/>
          </a:xfrm>
          <a:prstGeom prst="chevron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0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Perception SW Development+bug fix</a:t>
            </a:r>
            <a:endParaRPr lang="en-US" sz="800"/>
          </a:p>
        </p:txBody>
      </p:sp>
      <p:sp>
        <p:nvSpPr>
          <p:cNvPr id="388" name="Textplatzhalter 2">
            <a:extLst>
              <a:ext uri="{FF2B5EF4-FFF2-40B4-BE49-F238E27FC236}">
                <a16:creationId xmlns:a16="http://schemas.microsoft.com/office/drawing/2014/main" id="{614E70ED-E711-438F-AB77-79B481F3DC7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281113" y="1543050"/>
            <a:ext cx="2332038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7463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800"/>
              <a:t>BSW development</a:t>
            </a:r>
            <a:endParaRPr lang="en-US" sz="800" noProof="0"/>
          </a:p>
        </p:txBody>
      </p:sp>
      <p:sp>
        <p:nvSpPr>
          <p:cNvPr id="244" name="Textplatzhalter 2">
            <a:extLst>
              <a:ext uri="{FF2B5EF4-FFF2-40B4-BE49-F238E27FC236}">
                <a16:creationId xmlns:a16="http://schemas.microsoft.com/office/drawing/2014/main" id="{9B4EFBFE-314B-4A11-A41D-673BC0B879B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281114" y="1077913"/>
            <a:ext cx="1603375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5875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noProof="0"/>
              <a:t>A Sample</a:t>
            </a:r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3D62F378-4065-4013-91BE-B4DFB4388F8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219201" y="3578225"/>
            <a:ext cx="4475163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7463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Components sourcing</a:t>
            </a:r>
            <a:endParaRPr lang="en-US" sz="800" noProof="0"/>
          </a:p>
        </p:txBody>
      </p:sp>
      <p:sp>
        <p:nvSpPr>
          <p:cNvPr id="113" name="Textplatzhalter 2">
            <a:extLst>
              <a:ext uri="{FF2B5EF4-FFF2-40B4-BE49-F238E27FC236}">
                <a16:creationId xmlns:a16="http://schemas.microsoft.com/office/drawing/2014/main" id="{867E8AFD-23CB-4BC9-88E7-70A4D77C2B4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5070474" y="3076575"/>
            <a:ext cx="2185988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7463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Perception SW tuning+bug fix</a:t>
            </a:r>
            <a:endParaRPr lang="en-US" sz="800" noProof="0"/>
          </a:p>
        </p:txBody>
      </p:sp>
      <p:sp>
        <p:nvSpPr>
          <p:cNvPr id="427" name="Textplatzhalter 2">
            <a:extLst>
              <a:ext uri="{FF2B5EF4-FFF2-40B4-BE49-F238E27FC236}">
                <a16:creationId xmlns:a16="http://schemas.microsoft.com/office/drawing/2014/main" id="{9D443D96-3F84-4C82-B292-297998452DF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3759199" y="3328988"/>
            <a:ext cx="2039938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7463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Industrialization</a:t>
            </a:r>
            <a:endParaRPr lang="en-US" sz="800" noProof="0"/>
          </a:p>
        </p:txBody>
      </p:sp>
      <p:sp>
        <p:nvSpPr>
          <p:cNvPr id="385" name="Textplatzhalter 2">
            <a:extLst>
              <a:ext uri="{FF2B5EF4-FFF2-40B4-BE49-F238E27FC236}">
                <a16:creationId xmlns:a16="http://schemas.microsoft.com/office/drawing/2014/main" id="{C635D15A-8594-457E-993E-C32D27375C5C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467099" y="2257425"/>
            <a:ext cx="2039938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7463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800" noProof="0"/>
              <a:t>Function development+bug fix</a:t>
            </a:r>
            <a:endParaRPr lang="en-US" sz="800" noProof="0"/>
          </a:p>
        </p:txBody>
      </p:sp>
      <p:sp>
        <p:nvSpPr>
          <p:cNvPr id="413" name="Textplatzhalter 2">
            <a:extLst>
              <a:ext uri="{FF2B5EF4-FFF2-40B4-BE49-F238E27FC236}">
                <a16:creationId xmlns:a16="http://schemas.microsoft.com/office/drawing/2014/main" id="{A740598C-87FE-4B7E-82F0-6E2253C12C34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070475" y="2574925"/>
            <a:ext cx="2185988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7463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Performance tuning and bug fix</a:t>
            </a:r>
            <a:endParaRPr lang="en-US" sz="800" noProof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DF4EFCC7-0682-45CE-AD11-608A5DFD6458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281113" y="2827338"/>
            <a:ext cx="2332038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7463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Perception SW Development</a:t>
            </a:r>
            <a:endParaRPr lang="en-US" sz="800" noProof="0"/>
          </a:p>
        </p:txBody>
      </p:sp>
      <p:sp>
        <p:nvSpPr>
          <p:cNvPr id="372" name="Textplatzhalter 2">
            <a:extLst>
              <a:ext uri="{FF2B5EF4-FFF2-40B4-BE49-F238E27FC236}">
                <a16:creationId xmlns:a16="http://schemas.microsoft.com/office/drawing/2014/main" id="{EFA36435-5380-4C48-991C-AE7B756BC45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281113" y="2008188"/>
            <a:ext cx="2332038" cy="204788"/>
          </a:xfrm>
          <a:prstGeom prst="homePlate">
            <a:avLst>
              <a:gd name="adj" fmla="val 1782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</p:spPr>
        <p:txBody>
          <a:bodyPr vert="horz" wrap="none" lIns="0" tIns="46038" rIns="17463" bIns="46038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Function Development</a:t>
            </a:r>
            <a:endParaRPr lang="en-US" sz="800" noProof="0"/>
          </a:p>
        </p:txBody>
      </p:sp>
      <p:sp>
        <p:nvSpPr>
          <p:cNvPr id="248" name="Isosceles Triangle 247">
            <a:extLst>
              <a:ext uri="{FF2B5EF4-FFF2-40B4-BE49-F238E27FC236}">
                <a16:creationId xmlns:a16="http://schemas.microsoft.com/office/drawing/2014/main" id="{D0312597-BF10-4F80-AEC1-CC193E5207E0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7343775" y="15875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6" name="Diamond 245">
            <a:extLst>
              <a:ext uri="{FF2B5EF4-FFF2-40B4-BE49-F238E27FC236}">
                <a16:creationId xmlns:a16="http://schemas.microsoft.com/office/drawing/2014/main" id="{BC42280F-3913-456E-8700-2169439964A1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8072438" y="3622675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1" name="Isosceles Triangle 250">
            <a:extLst>
              <a:ext uri="{FF2B5EF4-FFF2-40B4-BE49-F238E27FC236}">
                <a16:creationId xmlns:a16="http://schemas.microsoft.com/office/drawing/2014/main" id="{70C8A3EB-4CAB-487F-8D02-740C646D03A4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5637213" y="15875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5" name="Isosceles Triangle 394">
            <a:extLst>
              <a:ext uri="{FF2B5EF4-FFF2-40B4-BE49-F238E27FC236}">
                <a16:creationId xmlns:a16="http://schemas.microsoft.com/office/drawing/2014/main" id="{7D596214-EDEE-40FE-8203-54A0F3DC0219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3638550" y="15875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4" name="Isosceles Triangle 253">
            <a:extLst>
              <a:ext uri="{FF2B5EF4-FFF2-40B4-BE49-F238E27FC236}">
                <a16:creationId xmlns:a16="http://schemas.microsoft.com/office/drawing/2014/main" id="{AC2CF6EA-48AD-4D21-A910-9367A16ABFB7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1854945" y="4129088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Diamond 9">
            <a:extLst>
              <a:ext uri="{FF2B5EF4-FFF2-40B4-BE49-F238E27FC236}">
                <a16:creationId xmlns:a16="http://schemas.microsoft.com/office/drawing/2014/main" id="{A310D566-ED4C-438F-84B7-94FA6F677340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7927975" y="3622675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687E7A36-DA14-49D7-BF03-5CAD1A8F4BBA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5575300" y="230187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9" name="Textplatzhalter 2">
            <a:extLst>
              <a:ext uri="{FF2B5EF4-FFF2-40B4-BE49-F238E27FC236}">
                <a16:creationId xmlns:a16="http://schemas.microsoft.com/office/drawing/2014/main" id="{D9F7A9E1-3F9C-4A03-AAA3-747684AF22E3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00038" y="2003425"/>
            <a:ext cx="750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/>
              <a:t>CEM&amp;DF</a:t>
            </a:r>
            <a:endParaRPr lang="en-US" sz="1400" noProof="0"/>
          </a:p>
        </p:txBody>
      </p:sp>
      <p:sp useBgFill="1">
        <p:nvSpPr>
          <p:cNvPr id="267" name="Textplatzhalter 2">
            <a:extLst>
              <a:ext uri="{FF2B5EF4-FFF2-40B4-BE49-F238E27FC236}">
                <a16:creationId xmlns:a16="http://schemas.microsoft.com/office/drawing/2014/main" id="{9EC3B7E3-76FF-4333-8D24-FBA60F55654C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307013" y="1724025"/>
            <a:ext cx="776288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/>
              <a:t>Full Function SW</a:t>
            </a:r>
            <a:endParaRPr lang="en-US" sz="800" noProof="0"/>
          </a:p>
        </p:txBody>
      </p:sp>
      <p:sp useBgFill="1">
        <p:nvSpPr>
          <p:cNvPr id="257" name="Textplatzhalter 2">
            <a:extLst>
              <a:ext uri="{FF2B5EF4-FFF2-40B4-BE49-F238E27FC236}">
                <a16:creationId xmlns:a16="http://schemas.microsoft.com/office/drawing/2014/main" id="{CB7DE4B1-3F67-4AB6-B205-C6D69AF1D2F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518395" y="4265613"/>
            <a:ext cx="787400" cy="21272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noProof="0" dirty="0"/>
              <a:t>08/02/2021</a:t>
            </a:r>
            <a:endParaRPr lang="en-US" sz="1400" noProof="0" dirty="0"/>
          </a:p>
        </p:txBody>
      </p:sp>
      <p:sp>
        <p:nvSpPr>
          <p:cNvPr id="92" name="Textplatzhalter 2">
            <a:extLst>
              <a:ext uri="{FF2B5EF4-FFF2-40B4-BE49-F238E27FC236}">
                <a16:creationId xmlns:a16="http://schemas.microsoft.com/office/drawing/2014/main" id="{4FE7F889-0FAC-48F8-9841-2D5E11094D8D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00038" y="3805238"/>
            <a:ext cx="3857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noProof="0"/>
              <a:t>EMS</a:t>
            </a:r>
          </a:p>
        </p:txBody>
      </p:sp>
      <p:sp>
        <p:nvSpPr>
          <p:cNvPr id="342" name="Textplatzhalter 2">
            <a:extLst>
              <a:ext uri="{FF2B5EF4-FFF2-40B4-BE49-F238E27FC236}">
                <a16:creationId xmlns:a16="http://schemas.microsoft.com/office/drawing/2014/main" id="{0F467244-CA7A-4A24-877B-396FA84F1C88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00038" y="3324225"/>
            <a:ext cx="8477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/>
              <a:t>Production</a:t>
            </a:r>
            <a:endParaRPr lang="en-US" sz="1400" noProof="0"/>
          </a:p>
        </p:txBody>
      </p:sp>
      <p:sp>
        <p:nvSpPr>
          <p:cNvPr id="104" name="Textplatzhalter 2">
            <a:extLst>
              <a:ext uri="{FF2B5EF4-FFF2-40B4-BE49-F238E27FC236}">
                <a16:creationId xmlns:a16="http://schemas.microsoft.com/office/drawing/2014/main" id="{8D1C37F8-E3A4-435D-86E8-299C4ECAC7E7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00038" y="2822575"/>
            <a:ext cx="8477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/>
              <a:t>Perception</a:t>
            </a:r>
            <a:endParaRPr lang="en-US" sz="1400" noProof="0"/>
          </a:p>
        </p:txBody>
      </p:sp>
      <p:sp useBgFill="1">
        <p:nvSpPr>
          <p:cNvPr id="255" name="Textplatzhalter 2">
            <a:extLst>
              <a:ext uri="{FF2B5EF4-FFF2-40B4-BE49-F238E27FC236}">
                <a16:creationId xmlns:a16="http://schemas.microsoft.com/office/drawing/2014/main" id="{F2C3088E-C818-46F1-A597-568CECF3BC90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029449" y="1724025"/>
            <a:ext cx="742950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/>
              <a:t>SW final release</a:t>
            </a:r>
            <a:endParaRPr lang="en-US" sz="800" noProof="0"/>
          </a:p>
        </p:txBody>
      </p:sp>
      <p:sp useBgFill="1">
        <p:nvSpPr>
          <p:cNvPr id="256" name="Textplatzhalter 2">
            <a:extLst>
              <a:ext uri="{FF2B5EF4-FFF2-40B4-BE49-F238E27FC236}">
                <a16:creationId xmlns:a16="http://schemas.microsoft.com/office/drawing/2014/main" id="{FCBAEB1D-B232-46D3-B345-8F7A25B0209B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8081963" y="3759200"/>
            <a:ext cx="215900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/>
              <a:t>SOP</a:t>
            </a:r>
            <a:endParaRPr lang="en-US" sz="800" noProof="0"/>
          </a:p>
        </p:txBody>
      </p:sp>
      <p:sp>
        <p:nvSpPr>
          <p:cNvPr id="268" name="Textplatzhalter 2">
            <a:extLst>
              <a:ext uri="{FF2B5EF4-FFF2-40B4-BE49-F238E27FC236}">
                <a16:creationId xmlns:a16="http://schemas.microsoft.com/office/drawing/2014/main" id="{FBC089D4-F0B3-4F8E-89C1-08D531098B84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00038" y="831850"/>
            <a:ext cx="6794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noProof="0"/>
              <a:t>MFC5J3</a:t>
            </a:r>
          </a:p>
        </p:txBody>
      </p:sp>
      <p:sp useBgFill="1">
        <p:nvSpPr>
          <p:cNvPr id="81" name="Textplatzhalter 2">
            <a:extLst>
              <a:ext uri="{FF2B5EF4-FFF2-40B4-BE49-F238E27FC236}">
                <a16:creationId xmlns:a16="http://schemas.microsoft.com/office/drawing/2014/main" id="{9079AC1B-7A88-4F13-B4DE-5E259262EEED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7808913" y="3759200"/>
            <a:ext cx="231775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800" noProof="0"/>
              <a:t>PSW</a:t>
            </a:r>
            <a:endParaRPr lang="en-US" sz="800" noProof="0"/>
          </a:p>
        </p:txBody>
      </p:sp>
      <p:sp useBgFill="1">
        <p:nvSpPr>
          <p:cNvPr id="393" name="Textplatzhalter 2">
            <a:extLst>
              <a:ext uri="{FF2B5EF4-FFF2-40B4-BE49-F238E27FC236}">
                <a16:creationId xmlns:a16="http://schemas.microsoft.com/office/drawing/2014/main" id="{51918F42-E326-44DF-89D3-607911A82439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275013" y="1724025"/>
            <a:ext cx="841375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800" noProof="0"/>
              <a:t>1</a:t>
            </a:r>
            <a:r>
              <a:rPr lang="de-DE" sz="800"/>
              <a:t>st SW Integration</a:t>
            </a:r>
            <a:endParaRPr lang="en-US" sz="800" noProof="0"/>
          </a:p>
        </p:txBody>
      </p:sp>
      <p:sp>
        <p:nvSpPr>
          <p:cNvPr id="258" name="Textplatzhalter 2">
            <a:extLst>
              <a:ext uri="{FF2B5EF4-FFF2-40B4-BE49-F238E27FC236}">
                <a16:creationId xmlns:a16="http://schemas.microsoft.com/office/drawing/2014/main" id="{5F66CDFE-97ED-4C69-A33D-F36F2A5B9ABD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00038" y="153828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/>
              <a:t>BSW</a:t>
            </a:r>
            <a:endParaRPr lang="en-US" sz="1400" noProof="0"/>
          </a:p>
        </p:txBody>
      </p:sp>
      <p:sp>
        <p:nvSpPr>
          <p:cNvPr id="259" name="Textplatzhalter 2">
            <a:extLst>
              <a:ext uri="{FF2B5EF4-FFF2-40B4-BE49-F238E27FC236}">
                <a16:creationId xmlns:a16="http://schemas.microsoft.com/office/drawing/2014/main" id="{33518107-F264-42AA-8754-34A8FDD5CABD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00038" y="1304925"/>
            <a:ext cx="49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/>
              <a:t> </a:t>
            </a:r>
            <a:endParaRPr lang="en-US" sz="1400" noProof="0"/>
          </a:p>
        </p:txBody>
      </p:sp>
      <p:sp>
        <p:nvSpPr>
          <p:cNvPr id="263" name="Textplatzhalter 2">
            <a:extLst>
              <a:ext uri="{FF2B5EF4-FFF2-40B4-BE49-F238E27FC236}">
                <a16:creationId xmlns:a16="http://schemas.microsoft.com/office/drawing/2014/main" id="{9FCF0DD1-0DDB-4AE7-87F5-4D48CCEE7AD1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00038" y="1770063"/>
            <a:ext cx="49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/>
              <a:t> </a:t>
            </a:r>
            <a:endParaRPr lang="en-US" sz="1400" noProof="0"/>
          </a:p>
        </p:txBody>
      </p:sp>
      <p:sp>
        <p:nvSpPr>
          <p:cNvPr id="265" name="Textplatzhalter 2">
            <a:extLst>
              <a:ext uri="{FF2B5EF4-FFF2-40B4-BE49-F238E27FC236}">
                <a16:creationId xmlns:a16="http://schemas.microsoft.com/office/drawing/2014/main" id="{AAA72468-39D3-4934-8A8F-79EBBA417D58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300038" y="1073150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noProof="0"/>
              <a:t>HW</a:t>
            </a:r>
          </a:p>
        </p:txBody>
      </p:sp>
      <p:sp useBgFill="1">
        <p:nvSpPr>
          <p:cNvPr id="155" name="Textplatzhalter 2">
            <a:extLst>
              <a:ext uri="{FF2B5EF4-FFF2-40B4-BE49-F238E27FC236}">
                <a16:creationId xmlns:a16="http://schemas.microsoft.com/office/drawing/2014/main" id="{F45DEDA3-7A12-47BB-A32D-D8179F71FBAD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5340350" y="2438400"/>
            <a:ext cx="584200" cy="12223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800"/>
              <a:t>Full Function</a:t>
            </a:r>
            <a:endParaRPr lang="en-US" sz="800" noProof="0"/>
          </a:p>
        </p:txBody>
      </p:sp>
      <p:pic>
        <p:nvPicPr>
          <p:cNvPr id="346" name="Picture 4" descr="地平线头部logo">
            <a:extLst>
              <a:ext uri="{FF2B5EF4-FFF2-40B4-BE49-F238E27FC236}">
                <a16:creationId xmlns:a16="http://schemas.microsoft.com/office/drawing/2014/main" id="{8B6346E0-2656-4FDD-B613-FCF3C9B4F3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852"/>
          <a:stretch/>
        </p:blipFill>
        <p:spPr bwMode="auto">
          <a:xfrm>
            <a:off x="807691" y="3032126"/>
            <a:ext cx="282817" cy="22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" name="Picture 429" descr="Logo&#10;&#10;Description automatically generated">
            <a:extLst>
              <a:ext uri="{FF2B5EF4-FFF2-40B4-BE49-F238E27FC236}">
                <a16:creationId xmlns:a16="http://schemas.microsoft.com/office/drawing/2014/main" id="{81473077-7891-4996-8069-08ACE6FBD883}"/>
              </a:ext>
            </a:extLst>
          </p:cNvPr>
          <p:cNvPicPr>
            <a:picLocks noChangeAspect="1"/>
          </p:cNvPicPr>
          <p:nvPr/>
        </p:nvPicPr>
        <p:blipFill rotWithShape="1">
          <a:blip r:embed="rId83"/>
          <a:srcRect l="80150" t="16992" r="7959" b="22156"/>
          <a:stretch/>
        </p:blipFill>
        <p:spPr>
          <a:xfrm>
            <a:off x="827088" y="3509963"/>
            <a:ext cx="304800" cy="479454"/>
          </a:xfrm>
          <a:prstGeom prst="rect">
            <a:avLst/>
          </a:prstGeom>
        </p:spPr>
      </p:pic>
      <p:pic>
        <p:nvPicPr>
          <p:cNvPr id="96" name="Picture 95" descr="Logo&#10;&#10;Description automatically generated">
            <a:extLst>
              <a:ext uri="{FF2B5EF4-FFF2-40B4-BE49-F238E27FC236}">
                <a16:creationId xmlns:a16="http://schemas.microsoft.com/office/drawing/2014/main" id="{CD4DEB7C-8285-4BC8-92EC-7F904DDD7285}"/>
              </a:ext>
            </a:extLst>
          </p:cNvPr>
          <p:cNvPicPr>
            <a:picLocks noChangeAspect="1"/>
          </p:cNvPicPr>
          <p:nvPr/>
        </p:nvPicPr>
        <p:blipFill rotWithShape="1">
          <a:blip r:embed="rId83"/>
          <a:srcRect l="80150" t="16992" r="7959" b="22156"/>
          <a:stretch/>
        </p:blipFill>
        <p:spPr>
          <a:xfrm>
            <a:off x="732579" y="1108046"/>
            <a:ext cx="304800" cy="479454"/>
          </a:xfrm>
          <a:prstGeom prst="rect">
            <a:avLst/>
          </a:prstGeom>
        </p:spPr>
      </p:pic>
      <p:pic>
        <p:nvPicPr>
          <p:cNvPr id="101" name="Picture 100" descr="Logo&#10;&#10;Description automatically generated">
            <a:extLst>
              <a:ext uri="{FF2B5EF4-FFF2-40B4-BE49-F238E27FC236}">
                <a16:creationId xmlns:a16="http://schemas.microsoft.com/office/drawing/2014/main" id="{FF33F0F4-781A-469B-A28C-723254A1C537}"/>
              </a:ext>
            </a:extLst>
          </p:cNvPr>
          <p:cNvPicPr>
            <a:picLocks noChangeAspect="1"/>
          </p:cNvPicPr>
          <p:nvPr/>
        </p:nvPicPr>
        <p:blipFill rotWithShape="1">
          <a:blip r:embed="rId83"/>
          <a:srcRect l="80150" t="16992" r="7959" b="22156"/>
          <a:stretch/>
        </p:blipFill>
        <p:spPr>
          <a:xfrm>
            <a:off x="754486" y="1587500"/>
            <a:ext cx="304800" cy="479454"/>
          </a:xfrm>
          <a:prstGeom prst="rect">
            <a:avLst/>
          </a:prstGeom>
        </p:spPr>
      </p:pic>
      <p:pic>
        <p:nvPicPr>
          <p:cNvPr id="102" name="Picture 101" descr="Logo&#10;&#10;Description automatically generated">
            <a:extLst>
              <a:ext uri="{FF2B5EF4-FFF2-40B4-BE49-F238E27FC236}">
                <a16:creationId xmlns:a16="http://schemas.microsoft.com/office/drawing/2014/main" id="{3C19AC0E-9A2E-4296-B731-7D3593C49C44}"/>
              </a:ext>
            </a:extLst>
          </p:cNvPr>
          <p:cNvPicPr>
            <a:picLocks noChangeAspect="1"/>
          </p:cNvPicPr>
          <p:nvPr/>
        </p:nvPicPr>
        <p:blipFill rotWithShape="1">
          <a:blip r:embed="rId83"/>
          <a:srcRect l="80150" t="16992" r="7959" b="22156"/>
          <a:stretch/>
        </p:blipFill>
        <p:spPr>
          <a:xfrm>
            <a:off x="746126" y="2275628"/>
            <a:ext cx="304800" cy="479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47145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4272582-F9BE-4551-B91E-4987C550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5248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4272582-F9BE-4551-B91E-4987C550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itle 5">
            <a:extLst>
              <a:ext uri="{FF2B5EF4-FFF2-40B4-BE49-F238E27FC236}">
                <a16:creationId xmlns:a16="http://schemas.microsoft.com/office/drawing/2014/main" id="{AB06C1EB-172F-4D44-8F66-212D75F4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7974"/>
            <a:ext cx="8353425" cy="720726"/>
          </a:xfrm>
        </p:spPr>
        <p:txBody>
          <a:bodyPr vert="horz"/>
          <a:lstStyle/>
          <a:p>
            <a:r>
              <a:rPr lang="en-US" dirty="0"/>
              <a:t>MFC5J3 1R1V HW development status</a:t>
            </a:r>
            <a:br>
              <a:rPr lang="en-US" dirty="0"/>
            </a:b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8FB788-D298-476D-BFE2-0A3959BF1C27}"/>
              </a:ext>
            </a:extLst>
          </p:cNvPr>
          <p:cNvSpPr txBox="1"/>
          <p:nvPr/>
        </p:nvSpPr>
        <p:spPr>
          <a:xfrm>
            <a:off x="392595" y="926823"/>
            <a:ext cx="8265628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cs typeface="Arial"/>
              </a:rPr>
              <a:t>Schematic – Design on going by Conti</a:t>
            </a:r>
            <a:endParaRPr lang="en-US" dirty="0"/>
          </a:p>
          <a:p>
            <a:pPr marL="742950" lvl="1" indent="-285750">
              <a:buFont typeface="Arial"/>
              <a:buChar char="•"/>
            </a:pPr>
            <a:r>
              <a:rPr lang="en-US" dirty="0">
                <a:cs typeface="Arial"/>
              </a:rPr>
              <a:t>Plan to release schematic mid Aug.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cs typeface="Arial"/>
              </a:rPr>
              <a:t>Time duration: middle July to middle August.</a:t>
            </a:r>
          </a:p>
          <a:p>
            <a:pPr lvl="1"/>
            <a:endParaRPr lang="en-US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cs typeface="Arial"/>
              </a:rPr>
              <a:t>PCB - on sourcing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cs typeface="Arial"/>
              </a:rPr>
              <a:t>PCB design, simulation, manufacture vendor is on sourcing.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cs typeface="Arial"/>
              </a:rPr>
              <a:t>Time plan: Gerber release at middle of September, time pressed.</a:t>
            </a:r>
          </a:p>
          <a:p>
            <a:pPr lvl="1"/>
            <a:endParaRPr lang="en-US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cs typeface="Arial"/>
              </a:rPr>
              <a:t>Camera module - on sourcing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cs typeface="Arial"/>
              </a:rPr>
              <a:t>Eight 8M optical modules from </a:t>
            </a:r>
            <a:r>
              <a:rPr lang="en-US" dirty="0" err="1">
                <a:cs typeface="Arial"/>
              </a:rPr>
              <a:t>Foxcom</a:t>
            </a:r>
            <a:r>
              <a:rPr lang="en-US" dirty="0">
                <a:cs typeface="Arial"/>
              </a:rPr>
              <a:t> have been received. </a:t>
            </a:r>
          </a:p>
        </p:txBody>
      </p:sp>
    </p:spTree>
    <p:extLst>
      <p:ext uri="{BB962C8B-B14F-4D97-AF65-F5344CB8AC3E}">
        <p14:creationId xmlns:p14="http://schemas.microsoft.com/office/powerpoint/2010/main" val="258321656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4272582-F9BE-4551-B91E-4987C550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286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3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4272582-F9BE-4551-B91E-4987C550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itle 5">
            <a:extLst>
              <a:ext uri="{FF2B5EF4-FFF2-40B4-BE49-F238E27FC236}">
                <a16:creationId xmlns:a16="http://schemas.microsoft.com/office/drawing/2014/main" id="{AB06C1EB-172F-4D44-8F66-212D75F4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7974"/>
            <a:ext cx="8353425" cy="720726"/>
          </a:xfrm>
        </p:spPr>
        <p:txBody>
          <a:bodyPr vert="horz"/>
          <a:lstStyle/>
          <a:p>
            <a:r>
              <a:rPr lang="en-US" dirty="0"/>
              <a:t>MFC5J3 1R1V SW development status</a:t>
            </a:r>
            <a:br>
              <a:rPr lang="en-US" dirty="0"/>
            </a:b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88AB0F-908E-4FB1-94C4-9A0C353525F8}"/>
              </a:ext>
            </a:extLst>
          </p:cNvPr>
          <p:cNvSpPr txBox="1"/>
          <p:nvPr/>
        </p:nvSpPr>
        <p:spPr>
          <a:xfrm>
            <a:off x="396063" y="847947"/>
            <a:ext cx="8358518" cy="261610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TC387 EB </a:t>
            </a:r>
            <a:r>
              <a:rPr lang="en-US" dirty="0" err="1">
                <a:ea typeface="+mn-lt"/>
                <a:cs typeface="+mn-lt"/>
              </a:rPr>
              <a:t>Autosar</a:t>
            </a:r>
            <a:r>
              <a:rPr lang="en-US" dirty="0">
                <a:ea typeface="+mn-lt"/>
                <a:cs typeface="+mn-lt"/>
              </a:rPr>
              <a:t> stack purchase in process</a:t>
            </a:r>
            <a:endParaRPr lang="en-US" dirty="0">
              <a:cs typeface="Arial"/>
            </a:endParaRPr>
          </a:p>
          <a:p>
            <a:pPr marL="742950" lvl="1" indent="-285750"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Questionnaire submitted, wait for quote.</a:t>
            </a:r>
          </a:p>
          <a:p>
            <a:pPr marL="742950" lvl="1" indent="-285750"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Consider use temporary </a:t>
            </a:r>
            <a:r>
              <a:rPr lang="en-US" sz="1600" dirty="0" err="1">
                <a:ea typeface="+mn-lt"/>
                <a:cs typeface="+mn-lt"/>
              </a:rPr>
              <a:t>Autosar</a:t>
            </a:r>
            <a:r>
              <a:rPr lang="en-US" sz="1600" dirty="0">
                <a:ea typeface="+mn-lt"/>
                <a:cs typeface="+mn-lt"/>
              </a:rPr>
              <a:t> stack for advanced development with G-Pulse.</a:t>
            </a:r>
            <a:endParaRPr lang="en-US" dirty="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Role &amp; Response</a:t>
            </a:r>
          </a:p>
          <a:p>
            <a:pPr marL="742950" lvl="1" indent="-285750"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[TC387]Driving function by Conti: RTE interface first version complete.</a:t>
            </a:r>
            <a:endParaRPr lang="en-US" dirty="0">
              <a:cs typeface="Arial"/>
            </a:endParaRPr>
          </a:p>
          <a:p>
            <a:pPr marL="742950" lvl="1" indent="-285750"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[J3]Fusion function by Conti: J3 development strategy under discussion with Horizon.</a:t>
            </a:r>
            <a:endParaRPr lang="en-US" sz="1600" dirty="0">
              <a:cs typeface="Arial"/>
            </a:endParaRPr>
          </a:p>
          <a:p>
            <a:pPr marL="742950" lvl="1" indent="-285750"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[TC387]SPI Interface by G-Pulse: Interface under discussion with Horizon.</a:t>
            </a:r>
            <a:endParaRPr lang="en-US" sz="1600" dirty="0">
              <a:cs typeface="Arial"/>
            </a:endParaRPr>
          </a:p>
          <a:p>
            <a:pPr marL="742950" lvl="1" indent="-285750">
              <a:buFont typeface="Arial"/>
              <a:buChar char="•"/>
            </a:pPr>
            <a:r>
              <a:rPr lang="en-US" sz="1600" dirty="0">
                <a:ea typeface="+mn-lt"/>
                <a:cs typeface="+mn-lt"/>
              </a:rPr>
              <a:t>[TC387]MTS by Conti: Strategy confirmed, to be implemented.</a:t>
            </a:r>
            <a:endParaRPr lang="en-US" sz="1600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442735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  <p:tag name="THINKCELLPRESENTATIONDONOTDELETE" val="&lt;?xml version=&quot;1.0&quot; encoding=&quot;UTF-16&quot; standalone=&quot;yes&quot;?&gt;&lt;root reqver=&quot;27037&quot;&gt;&lt;version val=&quot;3081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FgnHUir8tRfHK5pmBY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dD7uX9cnU_ntt6Szazs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rYwTarcvA315vxiIije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640KwAkw9rrYBM5LN_i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payiW5D5owqSVJo6RY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H5_KfYyAEzuuDHyI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F8K.kAYiMfSwwluzHM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YninOGoyUow.XEhkgO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GDnyeac9vEM1eG0B8c1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.xlidRSS9DpKj6HhrL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5XBOH03hwEIJz9NioQ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fdy85n6r_.pGWxXBiS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sAJ02jrqY9YIJMMKbt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giE2YjaukElBCddVOh6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SkS1Qb7CovhaaNcRPL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7vzrniKXHTq.yfUKyb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61xt_5RA8ixoZ7iw4F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2_ArfvZPSmnKMEg0oK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Zb0qal7xrBcvG2AX3lP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VCKG.2aJJFpXsNID8e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J4Jf0JaCE8Xhi_4wjsJ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fcHKR5XovJUenxml5x1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yVzf9y8fMF5DC5MI5v6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YVSNzEJm8w2Dw53Vv1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UphP4FzIyVBzqhTyKMF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7dqBlbfm_UxMszJC1g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ZPfZqYDHGfla0bMIJxb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2a1J092Q2NjgnxEMLE2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SFCMQF6fkxZ4aMz1rS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2er.Mo15Hr8OfX9UgC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WXLPhGfumZyBsG.wDY_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jriEeMFLS3GMjyfKah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mrEAYb6H74PO1NiLNu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b1Om5pTA2JAuOQxmAiw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apNGwzbiUvuZ4GZvTNB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JQlDbXW0nl3R7BGtzA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f.MkxF8OsKHvHHd2Da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eQCtVr0xyElhTjoLGL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4VVAYVAjGZXEAsbidnf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IBl11m8mnwTnuvRCvZ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OPNjwUp6gpF_f9fXb3t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1QpAlJFxlIHW2IV9vkp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MwXfQK5.oNLfdatsSQ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Nd5PioEeD1dLw2CBBRT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rezSlRSku2dbmqUWeh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cgds6xwcRdsn2bFi9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O9jbVFSGR2wsUJFquL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yMF42csKMiDiAzDDy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ykilhignxiqNTQ5nmcD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YxcXfu7iS7XygbRTly6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5eYjE.g3U32mM_vTQl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FOaGrzywBQTLroZOAaR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4ozHCLnqVjkrWIJ.ug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aqRVSQ.Fje_L32Tt2NA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zlbG7m7Ql69NcwubaJ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Zk3Kb4OuszNBPJzAXF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ef13JGcnioVJMHdt4B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8wS5k.9KhRaiYFl2I.4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nealZfv4QwwK25AteXo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qhSvPsclOQhTS43pOT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e6v3HN_YixwepzYq2CC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xgjNKRLYX_k9UUMUdI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s5z9gEnzj93lyJ9MsrI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V5AkcsekheJ2miTapCr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rl7YDf9gDZpE1h29Ta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Eu6hGs2yr.BDReXqIW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a8TbWPes77jQpihn3ID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Zh6tVbnGB1dGA.NFGsu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BC0UT2PNWDAmHr_vEM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55arQftSMWYdLA8f6r3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hN6Up2nwHtkhVDR0gM3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6Kg2wWIZVWd.81yQphz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R5ItwcAtzZ6pMS5IVdg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xsafU_HENve3xOpfedN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j753CRs.aK02A73BNhz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CE5D8sFGIAmzlH8yEWmQ"/>
</p:tagLst>
</file>

<file path=ppt/theme/theme1.xml><?xml version="1.0" encoding="utf-8"?>
<a:theme xmlns:a="http://schemas.openxmlformats.org/drawingml/2006/main" name="AST Conti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DB861522AC0840A2FE2E09C851202D" ma:contentTypeVersion="7" ma:contentTypeDescription="Create a new document." ma:contentTypeScope="" ma:versionID="30088da9630b9a37573c625bcbd5d0a1">
  <xsd:schema xmlns:xsd="http://www.w3.org/2001/XMLSchema" xmlns:xs="http://www.w3.org/2001/XMLSchema" xmlns:p="http://schemas.microsoft.com/office/2006/metadata/properties" xmlns:ns2="ccc2f5a0-ae0b-40f9-a52d-0b6803dbb5f8" xmlns:ns3="9af2810a-c9c7-4df0-a1b9-6fce3efc4a9c" targetNamespace="http://schemas.microsoft.com/office/2006/metadata/properties" ma:root="true" ma:fieldsID="572f3dff721858a3486bc647a1bcd266" ns2:_="" ns3:_="">
    <xsd:import namespace="ccc2f5a0-ae0b-40f9-a52d-0b6803dbb5f8"/>
    <xsd:import namespace="9af2810a-c9c7-4df0-a1b9-6fce3efc4a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c2f5a0-ae0b-40f9-a52d-0b6803dbb5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f2810a-c9c7-4df0-a1b9-6fce3efc4a9c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0961655-6A3C-43A6-9B5C-CADCAAB476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AE8247-544F-4FEF-B091-B0A4820EA28C}">
  <ds:schemaRefs>
    <ds:schemaRef ds:uri="9af2810a-c9c7-4df0-a1b9-6fce3efc4a9c"/>
    <ds:schemaRef ds:uri="ccc2f5a0-ae0b-40f9-a52d-0b6803dbb5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9171E50-560A-4FB2-91BE-2A249292EC79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9af2810a-c9c7-4df0-a1b9-6fce3efc4a9c"/>
    <ds:schemaRef ds:uri="http://purl.org/dc/dcmitype/"/>
    <ds:schemaRef ds:uri="http://schemas.microsoft.com/office/infopath/2007/PartnerControls"/>
    <ds:schemaRef ds:uri="ccc2f5a0-ae0b-40f9-a52d-0b6803dbb5f8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ST Conti 16x9</Template>
  <TotalTime>0</TotalTime>
  <Words>801</Words>
  <Application>Microsoft Office PowerPoint</Application>
  <PresentationFormat>On-screen Show (16:9)</PresentationFormat>
  <Paragraphs>21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AST Conti 16x9</vt:lpstr>
      <vt:lpstr>think-cell Slide</vt:lpstr>
      <vt:lpstr>Worksheet</vt:lpstr>
      <vt:lpstr>Packager Shell Object</vt:lpstr>
      <vt:lpstr>MFC5J3 Development Information</vt:lpstr>
      <vt:lpstr>Agenda</vt:lpstr>
      <vt:lpstr>MFC5J3 Solution Overview </vt:lpstr>
      <vt:lpstr>MFC5J3 Solution Overview </vt:lpstr>
      <vt:lpstr>MFC5J3 Solution Overview </vt:lpstr>
      <vt:lpstr>MFC5J3 Technical Overview </vt:lpstr>
      <vt:lpstr>MFC5J3 Project timing (1R1V)</vt:lpstr>
      <vt:lpstr>MFC5J3 1R1V HW development status </vt:lpstr>
      <vt:lpstr>MFC5J3 1R1V SW development status </vt:lpstr>
      <vt:lpstr>MFC5J3 DF SW development Strategy </vt:lpstr>
      <vt:lpstr>MFC5J3 CEM Component</vt:lpstr>
      <vt:lpstr>COH Component Functionality </vt:lpstr>
      <vt:lpstr>Lane Assignment Sub-component Functionality </vt:lpstr>
      <vt:lpstr>Problem to be solved</vt:lpstr>
      <vt:lpstr>Thank you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gineering Strategy ADAS</dc:title>
  <dc:creator>Armin Strobel</dc:creator>
  <cp:lastModifiedBy>Liu, Yang17 (uie38994)</cp:lastModifiedBy>
  <cp:revision>36</cp:revision>
  <dcterms:created xsi:type="dcterms:W3CDTF">2016-11-02T03:44:06Z</dcterms:created>
  <dcterms:modified xsi:type="dcterms:W3CDTF">2021-08-04T08:5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115900</vt:r8>
  </property>
  <property fmtid="{D5CDD505-2E9C-101B-9397-08002B2CF9AE}" pid="3" name="ContentTypeId">
    <vt:lpwstr>0x010100F1DB861522AC0840A2FE2E09C851202D</vt:lpwstr>
  </property>
</Properties>
</file>